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2.xml" ContentType="application/vnd.openxmlformats-officedocument.theme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theme/theme3.xml" ContentType="application/vnd.openxmlformats-officedocument.theme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4.xml" ContentType="application/vnd.openxmlformats-officedocument.theme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theme/theme5.xml" ContentType="application/vnd.openxmlformats-officedocument.theme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theme/theme6.xml" ContentType="application/vnd.openxmlformats-officedocument.theme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theme/theme7.xml" ContentType="application/vnd.openxmlformats-officedocument.theme+xml"/>
  <Override PartName="/ppt/tags/tag1.xml" ContentType="application/vnd.openxmlformats-officedocument.presentationml.tags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theme/theme8.xml" ContentType="application/vnd.openxmlformats-officedocument.theme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theme/theme9.xml" ContentType="application/vnd.openxmlformats-officedocument.theme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theme/theme10.xml" ContentType="application/vnd.openxmlformats-officedocument.theme+xml"/>
  <Override PartName="/ppt/theme/theme11.xml" ContentType="application/vnd.openxmlformats-officedocument.theme+xml"/>
  <Override PartName="/ppt/theme/theme1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ppt/notesSlides/notesSlide43.xml" ContentType="application/vnd.openxmlformats-officedocument.presentationml.notesSlide+xml"/>
  <Override PartName="/ppt/notesSlides/notesSlide44.xml" ContentType="application/vnd.openxmlformats-officedocument.presentationml.notesSlide+xml"/>
  <Override PartName="/ppt/notesSlides/notesSlide45.xml" ContentType="application/vnd.openxmlformats-officedocument.presentationml.notesSlide+xml"/>
  <Override PartName="/ppt/notesSlides/notesSlide4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4229" r:id="rId4"/>
    <p:sldMasterId id="2147484310" r:id="rId5"/>
    <p:sldMasterId id="2147484341" r:id="rId6"/>
    <p:sldMasterId id="2147484365" r:id="rId7"/>
    <p:sldMasterId id="2147484395" r:id="rId8"/>
    <p:sldMasterId id="2147484421" r:id="rId9"/>
    <p:sldMasterId id="2147484483" r:id="rId10"/>
    <p:sldMasterId id="2147484508" r:id="rId11"/>
    <p:sldMasterId id="2147484533" r:id="rId12"/>
    <p:sldMasterId id="2147484548" r:id="rId13"/>
  </p:sldMasterIdLst>
  <p:notesMasterIdLst>
    <p:notesMasterId r:id="rId61"/>
  </p:notesMasterIdLst>
  <p:handoutMasterIdLst>
    <p:handoutMasterId r:id="rId62"/>
  </p:handoutMasterIdLst>
  <p:sldIdLst>
    <p:sldId id="1638" r:id="rId14"/>
    <p:sldId id="1713" r:id="rId15"/>
    <p:sldId id="1639" r:id="rId16"/>
    <p:sldId id="1699" r:id="rId17"/>
    <p:sldId id="1715" r:id="rId18"/>
    <p:sldId id="1731" r:id="rId19"/>
    <p:sldId id="1732" r:id="rId20"/>
    <p:sldId id="1641" r:id="rId21"/>
    <p:sldId id="1733" r:id="rId22"/>
    <p:sldId id="1738" r:id="rId23"/>
    <p:sldId id="1727" r:id="rId24"/>
    <p:sldId id="1799" r:id="rId25"/>
    <p:sldId id="1800" r:id="rId26"/>
    <p:sldId id="1801" r:id="rId27"/>
    <p:sldId id="1803" r:id="rId28"/>
    <p:sldId id="1740" r:id="rId29"/>
    <p:sldId id="1741" r:id="rId30"/>
    <p:sldId id="1742" r:id="rId31"/>
    <p:sldId id="1743" r:id="rId32"/>
    <p:sldId id="1744" r:id="rId33"/>
    <p:sldId id="1746" r:id="rId34"/>
    <p:sldId id="1773" r:id="rId35"/>
    <p:sldId id="1776" r:id="rId36"/>
    <p:sldId id="1777" r:id="rId37"/>
    <p:sldId id="1779" r:id="rId38"/>
    <p:sldId id="1780" r:id="rId39"/>
    <p:sldId id="1781" r:id="rId40"/>
    <p:sldId id="1782" r:id="rId41"/>
    <p:sldId id="1783" r:id="rId42"/>
    <p:sldId id="1784" r:id="rId43"/>
    <p:sldId id="1785" r:id="rId44"/>
    <p:sldId id="1757" r:id="rId45"/>
    <p:sldId id="1758" r:id="rId46"/>
    <p:sldId id="1788" r:id="rId47"/>
    <p:sldId id="1789" r:id="rId48"/>
    <p:sldId id="1790" r:id="rId49"/>
    <p:sldId id="1791" r:id="rId50"/>
    <p:sldId id="1792" r:id="rId51"/>
    <p:sldId id="1793" r:id="rId52"/>
    <p:sldId id="1794" r:id="rId53"/>
    <p:sldId id="1795" r:id="rId54"/>
    <p:sldId id="1771" r:id="rId55"/>
    <p:sldId id="1796" r:id="rId56"/>
    <p:sldId id="1797" r:id="rId57"/>
    <p:sldId id="1798" r:id="rId58"/>
    <p:sldId id="1739" r:id="rId59"/>
    <p:sldId id="1802" r:id="rId60"/>
  </p:sldIdLst>
  <p:sldSz cx="12436475" cy="6994525"/>
  <p:notesSz cx="6858000" cy="9144000"/>
  <p:defaultTextStyle>
    <a:defPPr>
      <a:defRPr lang="en-US"/>
    </a:defPPr>
    <a:lvl1pPr marL="0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66371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32742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99113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65484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331856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98226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64597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730969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Saku Uchikawa" initials="SU" lastIdx="11" clrIdx="0"/>
  <p:cmAuthor id="1" name="Mary Feil-Jacobs" initials="MFJ" lastIdx="43" clrIdx="1"/>
  <p:cmAuthor id="2" name="Monica Lueder" initials="ML" lastIdx="22" clrIdx="2">
    <p:extLst/>
  </p:cmAuthor>
  <p:cmAuthor id="3" name="Mary Feil-Jacobs" initials="MF" lastIdx="22" clrIdx="3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83B01"/>
    <a:srgbClr val="0078D7"/>
    <a:srgbClr val="7F7F7F"/>
    <a:srgbClr val="00BCF2"/>
    <a:srgbClr val="FFB900"/>
    <a:srgbClr val="505050"/>
    <a:srgbClr val="D2D2D2"/>
    <a:srgbClr val="C9C9C9"/>
    <a:srgbClr val="F8F8F8"/>
    <a:srgbClr val="E9AFA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186" autoAdjust="0"/>
    <p:restoredTop sz="87225" autoAdjust="0"/>
  </p:normalViewPr>
  <p:slideViewPr>
    <p:cSldViewPr>
      <p:cViewPr varScale="1">
        <p:scale>
          <a:sx n="94" d="100"/>
          <a:sy n="94" d="100"/>
        </p:scale>
        <p:origin x="1206" y="90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-4350"/>
    </p:cViewPr>
  </p:sorterViewPr>
  <p:notesViewPr>
    <p:cSldViewPr showGuides="1">
      <p:cViewPr varScale="1">
        <p:scale>
          <a:sx n="99" d="100"/>
          <a:sy n="99" d="100"/>
        </p:scale>
        <p:origin x="3570" y="84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0.xml"/><Relationship Id="rId18" Type="http://schemas.openxmlformats.org/officeDocument/2006/relationships/slide" Target="slides/slide5.xml"/><Relationship Id="rId26" Type="http://schemas.openxmlformats.org/officeDocument/2006/relationships/slide" Target="slides/slide13.xml"/><Relationship Id="rId39" Type="http://schemas.openxmlformats.org/officeDocument/2006/relationships/slide" Target="slides/slide26.xml"/><Relationship Id="rId21" Type="http://schemas.openxmlformats.org/officeDocument/2006/relationships/slide" Target="slides/slide8.xml"/><Relationship Id="rId34" Type="http://schemas.openxmlformats.org/officeDocument/2006/relationships/slide" Target="slides/slide21.xml"/><Relationship Id="rId42" Type="http://schemas.openxmlformats.org/officeDocument/2006/relationships/slide" Target="slides/slide29.xml"/><Relationship Id="rId47" Type="http://schemas.openxmlformats.org/officeDocument/2006/relationships/slide" Target="slides/slide34.xml"/><Relationship Id="rId50" Type="http://schemas.openxmlformats.org/officeDocument/2006/relationships/slide" Target="slides/slide37.xml"/><Relationship Id="rId55" Type="http://schemas.openxmlformats.org/officeDocument/2006/relationships/slide" Target="slides/slide42.xml"/><Relationship Id="rId63" Type="http://schemas.openxmlformats.org/officeDocument/2006/relationships/commentAuthors" Target="commentAuthors.xml"/><Relationship Id="rId7" Type="http://schemas.openxmlformats.org/officeDocument/2006/relationships/slideMaster" Target="slideMasters/slideMaster4.xml"/><Relationship Id="rId2" Type="http://schemas.openxmlformats.org/officeDocument/2006/relationships/customXml" Target="../customXml/item2.xml"/><Relationship Id="rId16" Type="http://schemas.openxmlformats.org/officeDocument/2006/relationships/slide" Target="slides/slide3.xml"/><Relationship Id="rId29" Type="http://schemas.openxmlformats.org/officeDocument/2006/relationships/slide" Target="slides/slide16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11.xml"/><Relationship Id="rId32" Type="http://schemas.openxmlformats.org/officeDocument/2006/relationships/slide" Target="slides/slide19.xml"/><Relationship Id="rId37" Type="http://schemas.openxmlformats.org/officeDocument/2006/relationships/slide" Target="slides/slide24.xml"/><Relationship Id="rId40" Type="http://schemas.openxmlformats.org/officeDocument/2006/relationships/slide" Target="slides/slide27.xml"/><Relationship Id="rId45" Type="http://schemas.openxmlformats.org/officeDocument/2006/relationships/slide" Target="slides/slide32.xml"/><Relationship Id="rId53" Type="http://schemas.openxmlformats.org/officeDocument/2006/relationships/slide" Target="slides/slide40.xml"/><Relationship Id="rId58" Type="http://schemas.openxmlformats.org/officeDocument/2006/relationships/slide" Target="slides/slide45.xml"/><Relationship Id="rId66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2.xml"/><Relationship Id="rId23" Type="http://schemas.openxmlformats.org/officeDocument/2006/relationships/slide" Target="slides/slide10.xml"/><Relationship Id="rId28" Type="http://schemas.openxmlformats.org/officeDocument/2006/relationships/slide" Target="slides/slide15.xml"/><Relationship Id="rId36" Type="http://schemas.openxmlformats.org/officeDocument/2006/relationships/slide" Target="slides/slide23.xml"/><Relationship Id="rId49" Type="http://schemas.openxmlformats.org/officeDocument/2006/relationships/slide" Target="slides/slide36.xml"/><Relationship Id="rId57" Type="http://schemas.openxmlformats.org/officeDocument/2006/relationships/slide" Target="slides/slide44.xml"/><Relationship Id="rId61" Type="http://schemas.openxmlformats.org/officeDocument/2006/relationships/notesMaster" Target="notesMasters/notesMaster1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6.xml"/><Relationship Id="rId31" Type="http://schemas.openxmlformats.org/officeDocument/2006/relationships/slide" Target="slides/slide18.xml"/><Relationship Id="rId44" Type="http://schemas.openxmlformats.org/officeDocument/2006/relationships/slide" Target="slides/slide31.xml"/><Relationship Id="rId52" Type="http://schemas.openxmlformats.org/officeDocument/2006/relationships/slide" Target="slides/slide39.xml"/><Relationship Id="rId60" Type="http://schemas.openxmlformats.org/officeDocument/2006/relationships/slide" Target="slides/slide47.xml"/><Relationship Id="rId65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1.xml"/><Relationship Id="rId22" Type="http://schemas.openxmlformats.org/officeDocument/2006/relationships/slide" Target="slides/slide9.xml"/><Relationship Id="rId27" Type="http://schemas.openxmlformats.org/officeDocument/2006/relationships/slide" Target="slides/slide14.xml"/><Relationship Id="rId30" Type="http://schemas.openxmlformats.org/officeDocument/2006/relationships/slide" Target="slides/slide17.xml"/><Relationship Id="rId35" Type="http://schemas.openxmlformats.org/officeDocument/2006/relationships/slide" Target="slides/slide22.xml"/><Relationship Id="rId43" Type="http://schemas.openxmlformats.org/officeDocument/2006/relationships/slide" Target="slides/slide30.xml"/><Relationship Id="rId48" Type="http://schemas.openxmlformats.org/officeDocument/2006/relationships/slide" Target="slides/slide35.xml"/><Relationship Id="rId56" Type="http://schemas.openxmlformats.org/officeDocument/2006/relationships/slide" Target="slides/slide43.xml"/><Relationship Id="rId64" Type="http://schemas.openxmlformats.org/officeDocument/2006/relationships/presProps" Target="presProps.xml"/><Relationship Id="rId8" Type="http://schemas.openxmlformats.org/officeDocument/2006/relationships/slideMaster" Target="slideMasters/slideMaster5.xml"/><Relationship Id="rId51" Type="http://schemas.openxmlformats.org/officeDocument/2006/relationships/slide" Target="slides/slide38.xml"/><Relationship Id="rId3" Type="http://schemas.openxmlformats.org/officeDocument/2006/relationships/customXml" Target="../customXml/item3.xml"/><Relationship Id="rId12" Type="http://schemas.openxmlformats.org/officeDocument/2006/relationships/slideMaster" Target="slideMasters/slideMaster9.xml"/><Relationship Id="rId17" Type="http://schemas.openxmlformats.org/officeDocument/2006/relationships/slide" Target="slides/slide4.xml"/><Relationship Id="rId25" Type="http://schemas.openxmlformats.org/officeDocument/2006/relationships/slide" Target="slides/slide12.xml"/><Relationship Id="rId33" Type="http://schemas.openxmlformats.org/officeDocument/2006/relationships/slide" Target="slides/slide20.xml"/><Relationship Id="rId38" Type="http://schemas.openxmlformats.org/officeDocument/2006/relationships/slide" Target="slides/slide25.xml"/><Relationship Id="rId46" Type="http://schemas.openxmlformats.org/officeDocument/2006/relationships/slide" Target="slides/slide33.xml"/><Relationship Id="rId59" Type="http://schemas.openxmlformats.org/officeDocument/2006/relationships/slide" Target="slides/slide46.xml"/><Relationship Id="rId67" Type="http://schemas.openxmlformats.org/officeDocument/2006/relationships/tableStyles" Target="tableStyles.xml"/><Relationship Id="rId20" Type="http://schemas.openxmlformats.org/officeDocument/2006/relationships/slide" Target="slides/slide7.xml"/><Relationship Id="rId41" Type="http://schemas.openxmlformats.org/officeDocument/2006/relationships/slide" Target="slides/slide28.xml"/><Relationship Id="rId54" Type="http://schemas.openxmlformats.org/officeDocument/2006/relationships/slide" Target="slides/slide41.xml"/><Relationship Id="rId62" Type="http://schemas.openxmlformats.org/officeDocument/2006/relationships/handoutMaster" Target="handoutMasters/handout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2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Header Placeholder 5"/>
          <p:cNvSpPr>
            <a:spLocks noGrp="1"/>
          </p:cNvSpPr>
          <p:nvPr>
            <p:ph type="hdr" sz="quarter"/>
          </p:nvPr>
        </p:nvSpPr>
        <p:spPr>
          <a:xfrm>
            <a:off x="0" y="-11574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>
                <a:latin typeface="Segoe UI" pitchFamily="34" charset="0"/>
              </a:rPr>
              <a:t>Microsoft 2016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C8D045D-9A66-44E7-900A-FC6D0BD4E54A}" type="datetime8">
              <a:rPr lang="en-US" smtClean="0">
                <a:latin typeface="Segoe UI" pitchFamily="34" charset="0"/>
              </a:rPr>
              <a:t>11/21/2018 4:03 PM</a:t>
            </a:fld>
            <a:endParaRPr lang="en-US" dirty="0">
              <a:latin typeface="Segoe UI" pitchFamily="34" charset="0"/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5795010" cy="3324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pPr marL="398463" defTabSz="914099" eaLnBrk="0" hangingPunct="0"/>
            <a:r>
              <a:rPr lang="en-US" sz="400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6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3"/>
          </p:nvPr>
        </p:nvSpPr>
        <p:spPr>
          <a:xfrm>
            <a:off x="5783579" y="8685213"/>
            <a:ext cx="1072833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EC9E9D6-92A0-482B-A603-C9BA7FFB8190}" type="slidenum">
              <a:rPr lang="en-US" smtClean="0">
                <a:latin typeface="Segoe UI" pitchFamily="34" charset="0"/>
              </a:rPr>
              <a:t>‹#›</a:t>
            </a:fld>
            <a:endParaRPr lang="en-US" dirty="0">
              <a:latin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04595630"/>
      </p:ext>
    </p:extLst>
  </p:cSld>
  <p:clrMap bg1="lt1" tx1="dk1" bg2="lt2" tx2="dk2" accent1="accent1" accent2="accent2" accent3="accent3" accent4="accent4" accent5="accent5" accent6="accent6" hlink="hlink" folHlink="folHlink"/>
  <p:hf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1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Header Placeholder 7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Segoe UI" pitchFamily="34" charset="0"/>
              </a:defRPr>
            </a:lvl1pPr>
          </a:lstStyle>
          <a:p>
            <a:r>
              <a:rPr lang="en-US" dirty="0"/>
              <a:t>Microsoft 2016</a:t>
            </a:r>
          </a:p>
        </p:txBody>
      </p:sp>
      <p:sp>
        <p:nvSpPr>
          <p:cNvPr id="9" name="Slide Image Placeholder 8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4"/>
          </p:nvPr>
        </p:nvSpPr>
        <p:spPr>
          <a:xfrm>
            <a:off x="0" y="8686800"/>
            <a:ext cx="5920740" cy="35596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marL="571500" indent="0" algn="l">
              <a:defRPr sz="1200"/>
            </a:lvl1pPr>
          </a:lstStyle>
          <a:p>
            <a:pPr defTabSz="914099" eaLnBrk="0" hangingPunct="0"/>
            <a:r>
              <a:rPr lang="en-US" sz="400" dirty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6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11" name="Date Placeholder 10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Segoe UI" pitchFamily="34" charset="0"/>
              </a:defRPr>
            </a:lvl1pPr>
          </a:lstStyle>
          <a:p>
            <a:fld id="{38EEC551-8CDA-4EB6-89BB-2A86C9F091C8}" type="datetime8">
              <a:rPr lang="en-US" smtClean="0"/>
              <a:t>11/21/2018 3:55 PM</a:t>
            </a:fld>
            <a:endParaRPr lang="en-US" dirty="0"/>
          </a:p>
        </p:txBody>
      </p:sp>
      <p:sp>
        <p:nvSpPr>
          <p:cNvPr id="12" name="Notes Placeholder 11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5"/>
          </p:nvPr>
        </p:nvSpPr>
        <p:spPr>
          <a:xfrm>
            <a:off x="5909309" y="8685213"/>
            <a:ext cx="947103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Segoe UI" pitchFamily="34" charset="0"/>
              </a:defRPr>
            </a:lvl1pPr>
          </a:lstStyle>
          <a:p>
            <a:fld id="{B4008EB6-D09E-4580-8CD6-DDB14511944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4648265"/>
      </p:ext>
    </p:extLst>
  </p:cSld>
  <p:clrMap bg1="lt1" tx1="dk1" bg2="lt2" tx2="dk2" accent1="accent1" accent2="accent2" accent3="accent3" accent4="accent4" accent5="accent5" accent6="accent6" hlink="hlink" folHlink="folHlink"/>
  <p:hf/>
  <p:notesStyle>
    <a:lvl1pPr marL="0" algn="l" defTabSz="932742" rtl="0" eaLnBrk="1" latinLnBrk="0" hangingPunct="1">
      <a:lnSpc>
        <a:spcPct val="90000"/>
      </a:lnSpc>
      <a:spcAft>
        <a:spcPts val="340"/>
      </a:spcAft>
      <a:defRPr sz="900" kern="1200">
        <a:solidFill>
          <a:schemeClr val="tx1"/>
        </a:solidFill>
        <a:latin typeface="Segoe UI Light" pitchFamily="34" charset="0"/>
        <a:ea typeface="+mn-ea"/>
        <a:cs typeface="+mn-cs"/>
      </a:defRPr>
    </a:lvl1pPr>
    <a:lvl2pPr marL="217262" indent="-107956" algn="l" defTabSz="932742" rtl="0" eaLnBrk="1" latinLnBrk="0" hangingPunct="1">
      <a:lnSpc>
        <a:spcPct val="90000"/>
      </a:lnSpc>
      <a:spcAft>
        <a:spcPts val="340"/>
      </a:spcAft>
      <a:buFont typeface="Arial" pitchFamily="34" charset="0"/>
      <a:buChar char="•"/>
      <a:defRPr sz="900" kern="1200">
        <a:solidFill>
          <a:schemeClr val="tx1"/>
        </a:solidFill>
        <a:latin typeface="Segoe UI Light" pitchFamily="34" charset="0"/>
        <a:ea typeface="+mn-ea"/>
        <a:cs typeface="+mn-cs"/>
      </a:defRPr>
    </a:lvl2pPr>
    <a:lvl3pPr marL="334664" indent="-117403" algn="l" defTabSz="932742" rtl="0" eaLnBrk="1" latinLnBrk="0" hangingPunct="1">
      <a:lnSpc>
        <a:spcPct val="90000"/>
      </a:lnSpc>
      <a:spcAft>
        <a:spcPts val="340"/>
      </a:spcAft>
      <a:buFont typeface="Arial" pitchFamily="34" charset="0"/>
      <a:buChar char="•"/>
      <a:defRPr sz="900" kern="1200">
        <a:solidFill>
          <a:schemeClr val="tx1"/>
        </a:solidFill>
        <a:latin typeface="Segoe UI Light" pitchFamily="34" charset="0"/>
        <a:ea typeface="+mn-ea"/>
        <a:cs typeface="+mn-cs"/>
      </a:defRPr>
    </a:lvl3pPr>
    <a:lvl4pPr marL="492551" indent="-149789" algn="l" defTabSz="932742" rtl="0" eaLnBrk="1" latinLnBrk="0" hangingPunct="1">
      <a:lnSpc>
        <a:spcPct val="90000"/>
      </a:lnSpc>
      <a:spcAft>
        <a:spcPts val="340"/>
      </a:spcAft>
      <a:buFont typeface="Arial" pitchFamily="34" charset="0"/>
      <a:buChar char="•"/>
      <a:defRPr sz="900" kern="1200">
        <a:solidFill>
          <a:schemeClr val="tx1"/>
        </a:solidFill>
        <a:latin typeface="Segoe UI Light" pitchFamily="34" charset="0"/>
        <a:ea typeface="+mn-ea"/>
        <a:cs typeface="+mn-cs"/>
      </a:defRPr>
    </a:lvl4pPr>
    <a:lvl5pPr marL="627496" indent="-117403" algn="l" defTabSz="932742" rtl="0" eaLnBrk="1" latinLnBrk="0" hangingPunct="1">
      <a:lnSpc>
        <a:spcPct val="90000"/>
      </a:lnSpc>
      <a:spcAft>
        <a:spcPts val="340"/>
      </a:spcAft>
      <a:buFont typeface="Arial" pitchFamily="34" charset="0"/>
      <a:buChar char="•"/>
      <a:defRPr sz="900" kern="1200">
        <a:solidFill>
          <a:schemeClr val="tx1"/>
        </a:solidFill>
        <a:latin typeface="Segoe UI Light" pitchFamily="34" charset="0"/>
        <a:ea typeface="+mn-ea"/>
        <a:cs typeface="+mn-cs"/>
      </a:defRPr>
    </a:lvl5pPr>
    <a:lvl6pPr marL="2331856" algn="l" defTabSz="9327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98226" algn="l" defTabSz="9327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64597" algn="l" defTabSz="9327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730969" algn="l" defTabSz="9327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en-US"/>
              <a:t>Microsoft 2016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6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38EEC551-8CDA-4EB6-89BB-2A86C9F091C8}" type="datetime8">
              <a:rPr lang="en-US" smtClean="0"/>
              <a:t>11/21/2018 3:55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8298544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en-US"/>
              <a:t>Microsoft 2016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6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38EEC551-8CDA-4EB6-89BB-2A86C9F091C8}" type="datetime8">
              <a:rPr lang="en-US" smtClean="0"/>
              <a:t>11/21/2018 3:55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2783389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en-US"/>
              <a:t>Microsoft 2016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6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38EEC551-8CDA-4EB6-89BB-2A86C9F091C8}" type="datetime8">
              <a:rPr lang="en-US" smtClean="0"/>
              <a:t>11/21/2018 3:55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8314379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en-US"/>
              <a:t>Microsoft 2016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6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38EEC551-8CDA-4EB6-89BB-2A86C9F091C8}" type="datetime8">
              <a:rPr lang="en-US" smtClean="0"/>
              <a:t>11/21/2018 3:55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6795227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en-US"/>
              <a:t>Microsoft 2016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6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38EEC551-8CDA-4EB6-89BB-2A86C9F091C8}" type="datetime8">
              <a:rPr lang="en-US" smtClean="0"/>
              <a:t>11/21/2018 3:55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302514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en-US"/>
              <a:t>Microsoft 2016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6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38EEC551-8CDA-4EB6-89BB-2A86C9F091C8}" type="datetime8">
              <a:rPr lang="en-US" smtClean="0"/>
              <a:t>11/21/2018 3:55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46621537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en-US"/>
              <a:t>Microsoft 2016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6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38EEC551-8CDA-4EB6-89BB-2A86C9F091C8}" type="datetime8">
              <a:rPr lang="en-US" smtClean="0"/>
              <a:t>11/21/2018 3:55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83419417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en-US"/>
              <a:t>Microsoft 2016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6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38EEC551-8CDA-4EB6-89BB-2A86C9F091C8}" type="datetime8">
              <a:rPr lang="en-US" smtClean="0"/>
              <a:t>11/21/2018 3:55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85895912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en-US"/>
              <a:t>Microsoft 2016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6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38EEC551-8CDA-4EB6-89BB-2A86C9F091C8}" type="datetime8">
              <a:rPr lang="en-US" smtClean="0"/>
              <a:t>11/21/2018 3:55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93947239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en-US"/>
              <a:t>Microsoft 2016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6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38EEC551-8CDA-4EB6-89BB-2A86C9F091C8}" type="datetime8">
              <a:rPr lang="en-US" smtClean="0"/>
              <a:t>11/21/2018 3:55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2807191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en-US"/>
              <a:t>Microsoft 2016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6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38EEC551-8CDA-4EB6-89BB-2A86C9F091C8}" type="datetime8">
              <a:rPr lang="en-US" smtClean="0"/>
              <a:t>11/21/2018 3:55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9969728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900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en-US"/>
              <a:t>Microsoft 2016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6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38EEC551-8CDA-4EB6-89BB-2A86C9F091C8}" type="datetime8">
              <a:rPr lang="en-US" smtClean="0"/>
              <a:t>11/21/2018 3:55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21585713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en-US"/>
              <a:t>Microsoft 2016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6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38EEC551-8CDA-4EB6-89BB-2A86C9F091C8}" type="datetime8">
              <a:rPr lang="en-US" smtClean="0"/>
              <a:t>11/21/2018 3:55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88592218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en-US"/>
              <a:t>Microsoft 2016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6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38EEC551-8CDA-4EB6-89BB-2A86C9F091C8}" type="datetime8">
              <a:rPr lang="en-US" smtClean="0"/>
              <a:t>11/21/2018 3:55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41043035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en-US"/>
              <a:t>Microsoft 2016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6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38EEC551-8CDA-4EB6-89BB-2A86C9F091C8}" type="datetime8">
              <a:rPr lang="en-US" smtClean="0"/>
              <a:t>11/21/2018 3:55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9238494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en-US"/>
              <a:t>Microsoft 2016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6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38EEC551-8CDA-4EB6-89BB-2A86C9F091C8}" type="datetime8">
              <a:rPr lang="en-US" smtClean="0"/>
              <a:t>11/21/2018 3:55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2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47103745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en-US"/>
              <a:t>Microsoft 2016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6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38EEC551-8CDA-4EB6-89BB-2A86C9F091C8}" type="datetime8">
              <a:rPr lang="en-US" smtClean="0"/>
              <a:t>11/21/2018 3:55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2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68084025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en-US"/>
              <a:t>Microsoft 2016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6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38EEC551-8CDA-4EB6-89BB-2A86C9F091C8}" type="datetime8">
              <a:rPr lang="en-US" smtClean="0"/>
              <a:t>11/21/2018 3:55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2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1574438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en-US"/>
              <a:t>Microsoft 2016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6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38EEC551-8CDA-4EB6-89BB-2A86C9F091C8}" type="datetime8">
              <a:rPr lang="en-US" smtClean="0"/>
              <a:t>11/21/2018 3:55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2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82943824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en-US"/>
              <a:t>Microsoft 2016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6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38EEC551-8CDA-4EB6-89BB-2A86C9F091C8}" type="datetime8">
              <a:rPr lang="en-US" smtClean="0"/>
              <a:t>11/21/2018 3:55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2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43895324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en-US"/>
              <a:t>Microsoft 2016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6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38EEC551-8CDA-4EB6-89BB-2A86C9F091C8}" type="datetime8">
              <a:rPr lang="en-US" smtClean="0"/>
              <a:t>11/21/2018 3:55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2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01278255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en-US"/>
              <a:t>Microsoft 2016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6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38EEC551-8CDA-4EB6-89BB-2A86C9F091C8}" type="datetime8">
              <a:rPr lang="en-US" smtClean="0"/>
              <a:t>11/21/2018 3:55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3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4044660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en-US"/>
              <a:t>Microsoft 2016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6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38EEC551-8CDA-4EB6-89BB-2A86C9F091C8}" type="datetime8">
              <a:rPr lang="en-US" smtClean="0"/>
              <a:t>11/21/2018 3:55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5522919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en-US"/>
              <a:t>Microsoft 2016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6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38EEC551-8CDA-4EB6-89BB-2A86C9F091C8}" type="datetime8">
              <a:rPr lang="en-US" smtClean="0"/>
              <a:t>11/21/2018 3:55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3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6987521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en-US"/>
              <a:t>Microsoft 2016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6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38EEC551-8CDA-4EB6-89BB-2A86C9F091C8}" type="datetime8">
              <a:rPr lang="en-US" smtClean="0"/>
              <a:t>11/21/2018 3:55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3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20526616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en-US"/>
              <a:t>Microsoft 2016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6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38EEC551-8CDA-4EB6-89BB-2A86C9F091C8}" type="datetime8">
              <a:rPr lang="en-US" smtClean="0"/>
              <a:t>11/21/2018 3:55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3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83550420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en-US"/>
              <a:t>Microsoft 2016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6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38EEC551-8CDA-4EB6-89BB-2A86C9F091C8}" type="datetime8">
              <a:rPr lang="en-US" smtClean="0"/>
              <a:t>11/21/2018 3:55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3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12218829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en-US"/>
              <a:t>Microsoft 2016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6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38EEC551-8CDA-4EB6-89BB-2A86C9F091C8}" type="datetime8">
              <a:rPr lang="en-US" smtClean="0"/>
              <a:t>11/21/2018 3:55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3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2902303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en-US"/>
              <a:t>Microsoft 2016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6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38EEC551-8CDA-4EB6-89BB-2A86C9F091C8}" type="datetime8">
              <a:rPr lang="en-US" smtClean="0"/>
              <a:t>11/21/2018 3:55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3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80834460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en-US"/>
              <a:t>Microsoft 2016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6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38EEC551-8CDA-4EB6-89BB-2A86C9F091C8}" type="datetime8">
              <a:rPr lang="en-US" smtClean="0"/>
              <a:t>11/21/2018 3:55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3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21516687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en-US"/>
              <a:t>Microsoft 2016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6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38EEC551-8CDA-4EB6-89BB-2A86C9F091C8}" type="datetime8">
              <a:rPr lang="en-US" smtClean="0"/>
              <a:t>11/21/2018 3:55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3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52390769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en-US"/>
              <a:t>Microsoft 2016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6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38EEC551-8CDA-4EB6-89BB-2A86C9F091C8}" type="datetime8">
              <a:rPr lang="en-US" smtClean="0"/>
              <a:t>11/21/2018 3:55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3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34279963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en-US"/>
              <a:t>Microsoft 2016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6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38EEC551-8CDA-4EB6-89BB-2A86C9F091C8}" type="datetime8">
              <a:rPr lang="en-US" smtClean="0"/>
              <a:t>11/21/2018 3:55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4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2301444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en-US"/>
              <a:t>Microsoft 2016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6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38EEC551-8CDA-4EB6-89BB-2A86C9F091C8}" type="datetime8">
              <a:rPr lang="en-US" smtClean="0"/>
              <a:t>11/21/2018 3:55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18001366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en-US"/>
              <a:t>Microsoft 2016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6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38EEC551-8CDA-4EB6-89BB-2A86C9F091C8}" type="datetime8">
              <a:rPr lang="en-US" smtClean="0"/>
              <a:t>11/21/2018 3:55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4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5104897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en-US"/>
              <a:t>Microsoft 2016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6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38EEC551-8CDA-4EB6-89BB-2A86C9F091C8}" type="datetime8">
              <a:rPr lang="en-US" smtClean="0"/>
              <a:t>11/21/2018 3:55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4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7987486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en-US"/>
              <a:t>Microsoft 2016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6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38EEC551-8CDA-4EB6-89BB-2A86C9F091C8}" type="datetime8">
              <a:rPr lang="en-US" smtClean="0"/>
              <a:t>11/21/2018 3:55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4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6699792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en-US"/>
              <a:t>Microsoft 2016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6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38EEC551-8CDA-4EB6-89BB-2A86C9F091C8}" type="datetime8">
              <a:rPr lang="en-US" smtClean="0"/>
              <a:t>11/21/2018 3:55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4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33959502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en-US"/>
              <a:t>Microsoft 2016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6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38EEC551-8CDA-4EB6-89BB-2A86C9F091C8}" type="datetime8">
              <a:rPr lang="en-US" smtClean="0"/>
              <a:t>11/21/2018 3:55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4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11748704"/>
      </p:ext>
    </p:extLst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en-US"/>
              <a:t>Microsoft 2016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6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38EEC551-8CDA-4EB6-89BB-2A86C9F091C8}" type="datetime8">
              <a:rPr lang="en-US" smtClean="0"/>
              <a:t>11/21/2018 3:55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4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31727029"/>
      </p:ext>
    </p:extLst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en-US"/>
              <a:t>Microsoft 2016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6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38EEC551-8CDA-4EB6-89BB-2A86C9F091C8}" type="datetime8">
              <a:rPr lang="en-US" smtClean="0"/>
              <a:t>11/21/2018 4:03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4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6796153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en-US"/>
              <a:t>Microsoft 2016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6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38EEC551-8CDA-4EB6-89BB-2A86C9F091C8}" type="datetime8">
              <a:rPr lang="en-US" smtClean="0"/>
              <a:t>11/21/2018 3:55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074174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en-US"/>
              <a:t>Microsoft 2016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6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38EEC551-8CDA-4EB6-89BB-2A86C9F091C8}" type="datetime8">
              <a:rPr lang="en-US" smtClean="0"/>
              <a:t>11/21/2018 3:55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8058714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en-US"/>
              <a:t>Microsoft 2016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6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38EEC551-8CDA-4EB6-89BB-2A86C9F091C8}" type="datetime8">
              <a:rPr lang="en-US" smtClean="0"/>
              <a:t>11/21/2018 3:55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6193762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en-US"/>
              <a:t>Microsoft 2016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6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38EEC551-8CDA-4EB6-89BB-2A86C9F091C8}" type="datetime8">
              <a:rPr lang="en-US" smtClean="0"/>
              <a:t>11/21/2018 3:55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04866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en-US"/>
              <a:t>Microsoft 2016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6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38EEC551-8CDA-4EB6-89BB-2A86C9F091C8}" type="datetime8">
              <a:rPr lang="en-US" smtClean="0"/>
              <a:t>11/21/2018 3:55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5440489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6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jp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6.emf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7.xml"/></Relationships>
</file>

<file path=ppt/slideLayouts/_rels/slideLayout1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7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8.emf"/><Relationship Id="rId4" Type="http://schemas.openxmlformats.org/officeDocument/2006/relationships/oleObject" Target="../embeddings/oleObject1.bin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8.xml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8.xml"/></Relationships>
</file>

<file path=ppt/slideLayouts/_rels/slideLayout1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8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8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8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0.xml"/></Relationships>
</file>

<file path=ppt/slideLayouts/_rels/slideLayout1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0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0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0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0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4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4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94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6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 bwMode="gray">
          <a:xfrm>
            <a:off x="0" y="5758901"/>
            <a:ext cx="12435840" cy="1235624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39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62280" y="6209084"/>
            <a:ext cx="1456418" cy="310896"/>
          </a:xfrm>
          <a:prstGeom prst="rect">
            <a:avLst/>
          </a:prstGeom>
        </p:spPr>
      </p:pic>
      <p:pic>
        <p:nvPicPr>
          <p:cNvPr id="16" name="Picture 15" hidden="1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459230" y="6240963"/>
            <a:ext cx="1278510" cy="274137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white">
          <a:xfrm>
            <a:off x="274702" y="1679645"/>
            <a:ext cx="9143936" cy="1828786"/>
          </a:xfrm>
          <a:noFill/>
        </p:spPr>
        <p:txBody>
          <a:bodyPr lIns="146304" tIns="91440" rIns="146304" bIns="91440" anchor="t" anchorCtr="0"/>
          <a:lstStyle>
            <a:lvl1pPr>
              <a:defRPr sz="5400" spc="-100" baseline="0">
                <a:gradFill>
                  <a:gsLst>
                    <a:gs pos="100000">
                      <a:schemeClr val="tx2"/>
                    </a:gs>
                    <a:gs pos="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2" hasCustomPrompt="1"/>
          </p:nvPr>
        </p:nvSpPr>
        <p:spPr bwMode="white">
          <a:xfrm>
            <a:off x="274701" y="3509753"/>
            <a:ext cx="7315137" cy="1828007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32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168501045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8933552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16829564"/>
      </p:ext>
    </p:extLst>
  </p:cSld>
  <p:clrMapOvr>
    <a:masterClrMapping/>
  </p:clrMapOvr>
  <p:transition>
    <p:fade/>
  </p:transition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74639" y="1212851"/>
            <a:ext cx="11887200" cy="2443746"/>
          </a:xfrm>
          <a:prstGeom prst="rect">
            <a:avLst/>
          </a:prstGeom>
        </p:spPr>
        <p:txBody>
          <a:bodyPr/>
          <a:lstStyle>
            <a:lvl1pPr marL="290457" indent="-290457">
              <a:buClr>
                <a:schemeClr val="tx1"/>
              </a:buClr>
              <a:buSzPct val="90000"/>
              <a:buFont typeface="Wingdings" panose="05000000000000000000" pitchFamily="2" charset="2"/>
              <a:buChar char="§"/>
              <a:defRPr sz="359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71390" indent="-280935">
              <a:buClr>
                <a:schemeClr val="tx1"/>
              </a:buClr>
              <a:buSzPct val="90000"/>
              <a:buFont typeface="Wingdings" panose="05000000000000000000" pitchFamily="2" charset="2"/>
              <a:buChar char="§"/>
              <a:defRPr sz="319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61847" indent="-290457">
              <a:buClr>
                <a:schemeClr val="tx1"/>
              </a:buClr>
              <a:buSzPct val="90000"/>
              <a:buFont typeface="Wingdings" panose="05000000000000000000" pitchFamily="2" charset="2"/>
              <a:buChar char="§"/>
              <a:defRPr sz="28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90404" indent="-228557">
              <a:buClr>
                <a:schemeClr val="tx1"/>
              </a:buClr>
              <a:buSzPct val="90000"/>
              <a:buFont typeface="Wingdings" panose="05000000000000000000" pitchFamily="2" charset="2"/>
              <a:buChar char="§"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318960" indent="-228557">
              <a:buClr>
                <a:schemeClr val="tx1"/>
              </a:buClr>
              <a:buSzPct val="90000"/>
              <a:buFont typeface="Wingdings" panose="05000000000000000000" pitchFamily="2" charset="2"/>
              <a:buChar char="§"/>
              <a:defRPr sz="20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/>
              <a:t>Use this Layout for Speaker Notes slid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2" y="6363076"/>
            <a:ext cx="12436476" cy="631450"/>
          </a:xfrm>
          <a:prstGeom prst="rect">
            <a:avLst/>
          </a:prstGeom>
          <a:solidFill>
            <a:srgbClr val="FFFC9E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699"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1903722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Idea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2576" y="1211264"/>
            <a:ext cx="11889564" cy="917575"/>
          </a:xfrm>
        </p:spPr>
        <p:txBody>
          <a:bodyPr/>
          <a:lstStyle>
            <a:lvl1pPr>
              <a:defRPr sz="7198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02554670"/>
      </p:ext>
    </p:extLst>
  </p:cSld>
  <p:clrMapOvr>
    <a:masterClrMapping/>
  </p:clrMapOvr>
  <p:transition>
    <p:fade/>
  </p:transition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Idea &amp; 3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82577" y="2430463"/>
            <a:ext cx="11887200" cy="932563"/>
          </a:xfrm>
        </p:spPr>
        <p:txBody>
          <a:bodyPr/>
          <a:lstStyle>
            <a:lvl1pPr marL="0" indent="0">
              <a:buNone/>
              <a:defRPr sz="5399">
                <a:gradFill>
                  <a:gsLst>
                    <a:gs pos="3333">
                      <a:schemeClr val="tx1"/>
                    </a:gs>
                    <a:gs pos="39000">
                      <a:schemeClr val="tx1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2000"/>
            </a:lvl2pPr>
            <a:lvl3pPr marL="228557" indent="0">
              <a:buNone/>
              <a:defRPr/>
            </a:lvl3pPr>
            <a:lvl4pPr marL="457112" indent="0">
              <a:buNone/>
              <a:defRPr/>
            </a:lvl4pPr>
            <a:lvl5pPr marL="685669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282576" y="1211264"/>
            <a:ext cx="11889564" cy="917575"/>
          </a:xfrm>
        </p:spPr>
        <p:txBody>
          <a:bodyPr/>
          <a:lstStyle>
            <a:lvl1pPr>
              <a:defRPr sz="7198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65983496"/>
      </p:ext>
    </p:extLst>
  </p:cSld>
  <p:clrMapOvr>
    <a:masterClrMapping/>
  </p:clrMapOvr>
  <p:transition>
    <p:fade/>
  </p:transition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53124613"/>
      </p:ext>
    </p:extLst>
  </p:cSld>
  <p:clrMapOvr>
    <a:masterClrMapping/>
  </p:clrMapOvr>
  <p:transition>
    <p:fade/>
  </p:transition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_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74638" y="6294476"/>
            <a:ext cx="11887199" cy="40318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82880" tIns="146304" rIns="182880" bIns="146304" numCol="1" anchor="t" anchorCtr="0" compatLnSpc="1">
            <a:prstTxWarp prst="textNoShape">
              <a:avLst/>
            </a:prstTxWarp>
            <a:spAutoFit/>
          </a:bodyPr>
          <a:lstStyle/>
          <a:p>
            <a:pPr defTabSz="932290" eaLnBrk="0" hangingPunct="0"/>
            <a:r>
              <a:rPr lang="en-US" sz="700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2016 Microsoft Corporation. All rights reserved.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invGray">
          <a:xfrm>
            <a:off x="459232" y="3145040"/>
            <a:ext cx="3291840" cy="705836"/>
          </a:xfrm>
          <a:prstGeom prst="rect">
            <a:avLst/>
          </a:prstGeom>
        </p:spPr>
      </p:pic>
      <p:pic>
        <p:nvPicPr>
          <p:cNvPr id="3" name="Picture 2" hidden="1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40946" y="2441907"/>
            <a:ext cx="4698293" cy="21058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628155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Accent Colo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5581859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Title Accent Colo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2125663"/>
            <a:ext cx="11887200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198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573147394"/>
      </p:ext>
    </p:extLst>
  </p:cSld>
  <p:clrMapOvr>
    <a:masterClrMapping/>
  </p:clrMapOvr>
  <p:transition>
    <p:fade/>
  </p:transition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 No t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" t="14165" r="9710" b="9710"/>
          <a:stretch/>
        </p:blipFill>
        <p:spPr>
          <a:xfrm>
            <a:off x="0" y="0"/>
            <a:ext cx="12436475" cy="6994525"/>
          </a:xfrm>
          <a:prstGeom prst="rect">
            <a:avLst/>
          </a:prstGeom>
        </p:spPr>
      </p:pic>
      <p:sp>
        <p:nvSpPr>
          <p:cNvPr id="4" name="Rectangle 3"/>
          <p:cNvSpPr/>
          <p:nvPr userDrawn="1"/>
        </p:nvSpPr>
        <p:spPr bwMode="auto">
          <a:xfrm>
            <a:off x="274638" y="1211263"/>
            <a:ext cx="6400800" cy="2743200"/>
          </a:xfrm>
          <a:prstGeom prst="rect">
            <a:avLst/>
          </a:prstGeom>
          <a:solidFill>
            <a:schemeClr val="bg2">
              <a:alpha val="80000"/>
            </a:schemeClr>
          </a:solidFill>
          <a:ln w="3175"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2" name="Rectangle 1"/>
          <p:cNvSpPr/>
          <p:nvPr userDrawn="1"/>
        </p:nvSpPr>
        <p:spPr bwMode="auto">
          <a:xfrm>
            <a:off x="274638" y="2119164"/>
            <a:ext cx="6400800" cy="2749700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283" b="5353"/>
          <a:stretch/>
        </p:blipFill>
        <p:spPr>
          <a:xfrm>
            <a:off x="-1" y="0"/>
            <a:ext cx="12436475" cy="6994525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274637" y="1232250"/>
            <a:ext cx="8536515" cy="1190453"/>
          </a:xfrm>
          <a:noFill/>
        </p:spPr>
        <p:txBody>
          <a:bodyPr lIns="146304" tIns="91440" rIns="146304" bIns="91440" anchor="t" anchorCtr="0"/>
          <a:lstStyle>
            <a:lvl1pPr>
              <a:defRPr sz="5400" spc="-100" baseline="0">
                <a:gradFill>
                  <a:gsLst>
                    <a:gs pos="84066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Event name her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274637" y="2152578"/>
            <a:ext cx="8536517" cy="2280572"/>
          </a:xfrm>
        </p:spPr>
        <p:txBody>
          <a:bodyPr tIns="109728" bIns="109728">
            <a:noAutofit/>
          </a:bodyPr>
          <a:lstStyle>
            <a:lvl1pPr marL="0" indent="0">
              <a:spcBef>
                <a:spcPts val="0"/>
              </a:spcBef>
              <a:buNone/>
              <a:defRPr sz="2400" baseline="0">
                <a:gradFill>
                  <a:gsLst>
                    <a:gs pos="84066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invGray">
          <a:xfrm>
            <a:off x="457580" y="6255937"/>
            <a:ext cx="1280160" cy="2744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97652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274639" y="1212850"/>
            <a:ext cx="11889564" cy="2059025"/>
          </a:xfrm>
        </p:spPr>
        <p:txBody>
          <a:bodyPr/>
          <a:lstStyle>
            <a:lvl1pPr marL="0" indent="0">
              <a:buNone/>
              <a:defRPr/>
            </a:lvl1pPr>
            <a:lvl2pPr marL="28569" indent="0">
              <a:buNone/>
              <a:defRPr sz="2000"/>
            </a:lvl2pPr>
            <a:lvl3pPr marL="223795" indent="0">
              <a:buNone/>
              <a:defRPr sz="2000"/>
            </a:lvl3pPr>
            <a:lvl4pPr marL="476159" indent="0">
              <a:buNone/>
              <a:defRPr sz="1800"/>
            </a:lvl4pPr>
            <a:lvl5pPr marL="739632" indent="0">
              <a:buNone/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14768388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er Evidence Slide">
    <p:bg bwMode="gray"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gradFill>
                  <a:gsLst>
                    <a:gs pos="18584">
                      <a:schemeClr val="tx2"/>
                    </a:gs>
                    <a:gs pos="57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Customer evidence slid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 bwMode="gray">
          <a:xfrm>
            <a:off x="274638" y="1434069"/>
            <a:ext cx="5486400" cy="1827214"/>
          </a:xfrm>
          <a:blipFill>
            <a:blip r:embed="rId2"/>
            <a:stretch>
              <a:fillRect/>
            </a:stretch>
          </a:blipFill>
        </p:spPr>
        <p:txBody>
          <a:bodyPr lIns="182880" tIns="146304" rIns="182880" bIns="146304">
            <a:noAutofit/>
          </a:bodyPr>
          <a:lstStyle>
            <a:lvl1pPr marL="0" indent="0">
              <a:buNone/>
              <a:defRPr lang="en-US" sz="2400" kern="1200" spc="0" baseline="0" dirty="0">
                <a:noFill/>
                <a:latin typeface="+mn-lt"/>
                <a:ea typeface="+mn-ea"/>
                <a:cs typeface="+mn-cs"/>
              </a:defRPr>
            </a:lvl1pPr>
            <a:lvl2pPr>
              <a:defRPr lang="en-US" sz="240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</a:lstStyle>
          <a:p>
            <a:pPr marL="0" marR="0" lvl="0" indent="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</a:pPr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5" name="Rectangle 4"/>
          <p:cNvSpPr/>
          <p:nvPr userDrawn="1"/>
        </p:nvSpPr>
        <p:spPr bwMode="auto">
          <a:xfrm>
            <a:off x="6218237" y="4868863"/>
            <a:ext cx="5945966" cy="1828800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182880" tIns="146304" rIns="182880" bIns="146304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 dirty="0">
              <a:gradFill>
                <a:gsLst>
                  <a:gs pos="5439">
                    <a:srgbClr val="F8F8F8"/>
                  </a:gs>
                  <a:gs pos="10000">
                    <a:srgbClr val="F8F8F8"/>
                  </a:gs>
                </a:gsLst>
                <a:lin ang="5400000" scaled="0"/>
              </a:gradFill>
            </a:endParaRPr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6218237" y="1434069"/>
            <a:ext cx="5943601" cy="3433208"/>
          </a:xfrm>
          <a:blipFill>
            <a:blip r:embed="rId3"/>
            <a:stretch>
              <a:fillRect/>
            </a:stretch>
          </a:blipFill>
        </p:spPr>
        <p:txBody>
          <a:bodyPr lIns="182880" tIns="146304" rIns="182880" bIns="146304">
            <a:noAutofit/>
          </a:bodyPr>
          <a:lstStyle>
            <a:lvl1pPr marL="0" indent="0">
              <a:buNone/>
              <a:defRPr lang="en-US" sz="240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  <a:lvl2pPr algn="ctr">
              <a:defRPr lang="en-US" sz="240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</a:lstStyle>
          <a:p>
            <a:pPr marL="0" marR="0" lvl="0" indent="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</a:pPr>
            <a:r>
              <a:rPr lang="en-US" dirty="0"/>
              <a:t>Your image here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5989638" y="1836883"/>
            <a:ext cx="0" cy="4754828"/>
          </a:xfrm>
          <a:prstGeom prst="line">
            <a:avLst/>
          </a:prstGeom>
          <a:ln w="3175">
            <a:solidFill>
              <a:schemeClr val="tx1">
                <a:alpha val="25000"/>
              </a:schemeClr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10"/>
          <p:cNvSpPr>
            <a:spLocks noGrp="1"/>
          </p:cNvSpPr>
          <p:nvPr>
            <p:ph type="body" sz="quarter" idx="12"/>
          </p:nvPr>
        </p:nvSpPr>
        <p:spPr>
          <a:xfrm>
            <a:off x="274638" y="3260725"/>
            <a:ext cx="5486400" cy="3436938"/>
          </a:xfrm>
        </p:spPr>
        <p:txBody>
          <a:bodyPr lIns="182880" tIns="146304" rIns="182880" bIns="146304">
            <a:noAutofit/>
          </a:bodyPr>
          <a:lstStyle>
            <a:lvl1pPr marL="0" indent="0">
              <a:buNone/>
              <a:defRPr sz="2400">
                <a:latin typeface="+mn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3"/>
          </p:nvPr>
        </p:nvSpPr>
        <p:spPr>
          <a:xfrm>
            <a:off x="6218238" y="4868863"/>
            <a:ext cx="5943600" cy="1827214"/>
          </a:xfrm>
        </p:spPr>
        <p:txBody>
          <a:bodyPr lIns="182880" tIns="146304" rIns="182880" bIns="146304" anchor="ctr">
            <a:noAutofit/>
          </a:bodyPr>
          <a:lstStyle>
            <a:lvl1pPr marL="0" indent="0" algn="ctr">
              <a:buNone/>
              <a:defRPr sz="3200">
                <a:gradFill>
                  <a:gsLst>
                    <a:gs pos="27434">
                      <a:srgbClr val="FFFFFF"/>
                    </a:gs>
                    <a:gs pos="54000">
                      <a:srgbClr val="FFFFFF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508026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2-color Non-bulleted tex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274639" y="1212850"/>
            <a:ext cx="11889564" cy="2059025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292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  <a:lvl2pPr marL="28569" indent="0">
              <a:buNone/>
              <a:defRPr sz="2000"/>
            </a:lvl2pPr>
            <a:lvl3pPr marL="223795" indent="0">
              <a:buNone/>
              <a:defRPr sz="2000"/>
            </a:lvl3pPr>
            <a:lvl4pPr marL="476159" indent="0">
              <a:buNone/>
              <a:defRPr sz="1800"/>
            </a:lvl4pPr>
            <a:lvl5pPr marL="739632" indent="0">
              <a:buNone/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88590139"/>
      </p:ext>
    </p:extLst>
  </p:cSld>
  <p:clrMapOvr>
    <a:masterClrMapping/>
  </p:clrMapOvr>
  <p:transition>
    <p:fade/>
  </p:transition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2850"/>
            <a:ext cx="11887200" cy="2228302"/>
          </a:xfrm>
        </p:spPr>
        <p:txBody>
          <a:bodyPr>
            <a:spAutoFit/>
          </a:bodyPr>
          <a:lstStyle>
            <a:lvl3pPr>
              <a:defRPr sz="24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61077446"/>
      </p:ext>
    </p:extLst>
  </p:cSld>
  <p:clrMapOvr>
    <a:masterClrMapping/>
  </p:clrMapOvr>
  <p:transition>
    <p:fade/>
  </p:transition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2-color bulleted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2850"/>
            <a:ext cx="11887200" cy="2228302"/>
          </a:xfrm>
        </p:spPr>
        <p:txBody>
          <a:bodyPr>
            <a:spAutoFit/>
          </a:bodyPr>
          <a:lstStyle>
            <a:lvl1pPr>
              <a:buClr>
                <a:schemeClr val="tx2"/>
              </a:buClr>
              <a:defRPr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  <a:lvl3pPr>
              <a:defRPr sz="24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61801264"/>
      </p:ext>
    </p:extLst>
  </p:cSld>
  <p:clrMapOvr>
    <a:masterClrMapping/>
  </p:clrMapOvr>
  <p:transition>
    <p:fade/>
  </p:transition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40" y="1212849"/>
            <a:ext cx="5486399" cy="2539349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itchFamily="2" charset="2"/>
              <a:buNone/>
              <a:defRPr sz="3599"/>
            </a:lvl1pPr>
            <a:lvl2pPr marL="0" indent="0">
              <a:buNone/>
              <a:defRPr sz="2000"/>
            </a:lvl2pPr>
            <a:lvl3pPr marL="231730" indent="0">
              <a:buNone/>
              <a:tabLst/>
              <a:defRPr sz="2000"/>
            </a:lvl3pPr>
            <a:lvl4pPr marL="460287" indent="0">
              <a:buNone/>
              <a:defRPr/>
            </a:lvl4pPr>
            <a:lvl5pPr marL="685669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2849"/>
            <a:ext cx="5486399" cy="2539349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itchFamily="2" charset="2"/>
              <a:buNone/>
              <a:defRPr sz="3599"/>
            </a:lvl1pPr>
            <a:lvl2pPr marL="0" indent="0">
              <a:buNone/>
              <a:defRPr sz="2000"/>
            </a:lvl2pPr>
            <a:lvl3pPr marL="231730" indent="0">
              <a:buNone/>
              <a:tabLst/>
              <a:defRPr sz="2000"/>
            </a:lvl3pPr>
            <a:lvl4pPr marL="460287" indent="0">
              <a:buNone/>
              <a:defRPr/>
            </a:lvl4pPr>
            <a:lvl5pPr marL="685669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93258308"/>
      </p:ext>
    </p:extLst>
  </p:cSld>
  <p:clrMapOvr>
    <a:masterClrMapping/>
  </p:clrMapOvr>
  <p:transition>
    <p:fade/>
  </p:transition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2-color Non-bulleted tex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40" y="1212850"/>
            <a:ext cx="5486399" cy="2536079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itchFamily="2" charset="2"/>
              <a:buNone/>
              <a:defRPr sz="3599">
                <a:solidFill>
                  <a:schemeClr val="tx1"/>
                </a:solidFill>
              </a:defRPr>
            </a:lvl1pPr>
            <a:lvl2pPr marL="0" indent="0">
              <a:buNone/>
              <a:defRPr sz="2000"/>
            </a:lvl2pPr>
            <a:lvl3pPr marL="231730" indent="0">
              <a:buNone/>
              <a:tabLst/>
              <a:defRPr sz="2000"/>
            </a:lvl3pPr>
            <a:lvl4pPr marL="460287" indent="0">
              <a:buNone/>
              <a:defRPr/>
            </a:lvl4pPr>
            <a:lvl5pPr marL="685669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2850"/>
            <a:ext cx="5486399" cy="2536079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itchFamily="2" charset="2"/>
              <a:buNone/>
              <a:defRPr sz="3599">
                <a:solidFill>
                  <a:schemeClr val="tx1"/>
                </a:solidFill>
              </a:defRPr>
            </a:lvl1pPr>
            <a:lvl2pPr marL="0" indent="0">
              <a:buNone/>
              <a:defRPr sz="2000"/>
            </a:lvl2pPr>
            <a:lvl3pPr marL="231730" indent="0">
              <a:buNone/>
              <a:tabLst/>
              <a:defRPr sz="2000"/>
            </a:lvl3pPr>
            <a:lvl4pPr marL="460287" indent="0">
              <a:buNone/>
              <a:defRPr/>
            </a:lvl4pPr>
            <a:lvl5pPr marL="685669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55857586"/>
      </p:ext>
    </p:extLst>
  </p:cSld>
  <p:clrMapOvr>
    <a:masterClrMapping/>
  </p:clrMapOvr>
  <p:transition>
    <p:fade/>
  </p:transition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40" y="1212850"/>
            <a:ext cx="5486399" cy="2603790"/>
          </a:xfrm>
        </p:spPr>
        <p:txBody>
          <a:bodyPr wrap="square">
            <a:spAutoFit/>
          </a:bodyPr>
          <a:lstStyle>
            <a:lvl1pPr marL="287282" indent="-287282">
              <a:spcBef>
                <a:spcPts val="1224"/>
              </a:spcBef>
              <a:buClr>
                <a:schemeClr val="tx1"/>
              </a:buClr>
              <a:buFontTx/>
              <a:buBlip>
                <a:blip r:embed="rId2"/>
              </a:buBlip>
              <a:defRPr sz="3599"/>
            </a:lvl1pPr>
            <a:lvl2pPr marL="531064" indent="-233150">
              <a:defRPr sz="2400"/>
            </a:lvl2pPr>
            <a:lvl3pPr marL="699450" indent="-168387">
              <a:tabLst/>
              <a:defRPr sz="2000"/>
            </a:lvl3pPr>
            <a:lvl4pPr marL="880789" indent="-181339">
              <a:defRPr/>
            </a:lvl4pPr>
            <a:lvl5pPr marL="1049175" indent="-168387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2850"/>
            <a:ext cx="5486399" cy="2603790"/>
          </a:xfrm>
        </p:spPr>
        <p:txBody>
          <a:bodyPr wrap="square">
            <a:spAutoFit/>
          </a:bodyPr>
          <a:lstStyle>
            <a:lvl1pPr marL="287282" indent="-287282">
              <a:spcBef>
                <a:spcPts val="1224"/>
              </a:spcBef>
              <a:buClr>
                <a:schemeClr val="tx1"/>
              </a:buClr>
              <a:buFontTx/>
              <a:buBlip>
                <a:blip r:embed="rId2"/>
              </a:buBlip>
              <a:defRPr sz="3599"/>
            </a:lvl1pPr>
            <a:lvl2pPr marL="531064" indent="-233150">
              <a:defRPr sz="2400"/>
            </a:lvl2pPr>
            <a:lvl3pPr marL="699450" indent="-168387">
              <a:tabLst/>
              <a:defRPr sz="2000"/>
            </a:lvl3pPr>
            <a:lvl4pPr marL="880789" indent="-181339">
              <a:defRPr/>
            </a:lvl4pPr>
            <a:lvl5pPr marL="1049175" indent="-168387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68650917"/>
      </p:ext>
    </p:extLst>
  </p:cSld>
  <p:clrMapOvr>
    <a:masterClrMapping/>
  </p:clrMapOvr>
  <p:transition>
    <p:fade/>
  </p:transition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2-color Bullet tex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40" y="1212850"/>
            <a:ext cx="5486399" cy="2603790"/>
          </a:xfrm>
        </p:spPr>
        <p:txBody>
          <a:bodyPr wrap="square">
            <a:spAutoFit/>
          </a:bodyPr>
          <a:lstStyle>
            <a:lvl1pPr marL="287282" indent="-287282">
              <a:spcBef>
                <a:spcPts val="1224"/>
              </a:spcBef>
              <a:buClr>
                <a:schemeClr val="tx2"/>
              </a:buClr>
              <a:buFontTx/>
              <a:buBlip>
                <a:blip r:embed="rId2"/>
              </a:buBlip>
              <a:defRPr sz="3599">
                <a:solidFill>
                  <a:schemeClr val="tx1"/>
                </a:solidFill>
              </a:defRPr>
            </a:lvl1pPr>
            <a:lvl2pPr marL="531064" indent="-233150">
              <a:defRPr sz="2400"/>
            </a:lvl2pPr>
            <a:lvl3pPr marL="699450" indent="-168387">
              <a:tabLst/>
              <a:defRPr sz="2000"/>
            </a:lvl3pPr>
            <a:lvl4pPr marL="880789" indent="-181339">
              <a:defRPr/>
            </a:lvl4pPr>
            <a:lvl5pPr marL="1049175" indent="-168387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2850"/>
            <a:ext cx="5486399" cy="2603790"/>
          </a:xfrm>
        </p:spPr>
        <p:txBody>
          <a:bodyPr wrap="square">
            <a:spAutoFit/>
          </a:bodyPr>
          <a:lstStyle>
            <a:lvl1pPr marL="287282" indent="-287282">
              <a:spcBef>
                <a:spcPts val="1224"/>
              </a:spcBef>
              <a:buClr>
                <a:schemeClr val="tx2"/>
              </a:buClr>
              <a:buFontTx/>
              <a:buBlip>
                <a:blip r:embed="rId2"/>
              </a:buBlip>
              <a:defRPr sz="3599">
                <a:solidFill>
                  <a:schemeClr val="tx1"/>
                </a:solidFill>
              </a:defRPr>
            </a:lvl1pPr>
            <a:lvl2pPr marL="531064" indent="-233150">
              <a:defRPr sz="2400"/>
            </a:lvl2pPr>
            <a:lvl3pPr marL="699450" indent="-168387">
              <a:tabLst/>
              <a:defRPr sz="2000"/>
            </a:lvl3pPr>
            <a:lvl4pPr marL="880789" indent="-181339">
              <a:defRPr/>
            </a:lvl4pPr>
            <a:lvl5pPr marL="1049175" indent="-168387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73859124"/>
      </p:ext>
    </p:extLst>
  </p:cSld>
  <p:clrMapOvr>
    <a:masterClrMapping/>
  </p:clrMapOvr>
  <p:transition>
    <p:fade/>
  </p:transition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75422434"/>
      </p:ext>
    </p:extLst>
  </p:cSld>
  <p:clrMapOvr>
    <a:masterClrMapping/>
  </p:clrMapOvr>
  <p:transition>
    <p:fade/>
  </p:transition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Idea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2576" y="1211264"/>
            <a:ext cx="11889564" cy="917575"/>
          </a:xfrm>
        </p:spPr>
        <p:txBody>
          <a:bodyPr/>
          <a:lstStyle>
            <a:lvl1pPr>
              <a:defRPr sz="7198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3076685"/>
      </p:ext>
    </p:extLst>
  </p:cSld>
  <p:clrMapOvr>
    <a:masterClrMapping/>
  </p:clrMapOvr>
  <p:transition>
    <p:fade/>
  </p:transition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c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13226" y="2125664"/>
            <a:ext cx="8219813" cy="1828800"/>
          </a:xfrm>
        </p:spPr>
        <p:txBody>
          <a:bodyPr/>
          <a:lstStyle>
            <a:lvl1pPr>
              <a:defRPr sz="5999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9973805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8" y="1209973"/>
            <a:ext cx="8228299" cy="1181862"/>
          </a:xfrm>
          <a:noFill/>
        </p:spPr>
        <p:txBody>
          <a:bodyPr wrap="square" tIns="91440" bIns="91440" anchor="t" anchorCtr="0">
            <a:spAutoFit/>
          </a:bodyPr>
          <a:lstStyle>
            <a:lvl1pPr>
              <a:defRPr sz="7200" spc="-100" baseline="0">
                <a:gradFill>
                  <a:gsLst>
                    <a:gs pos="8850">
                      <a:schemeClr val="tx1"/>
                    </a:gs>
                    <a:gs pos="23894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638" y="3954463"/>
            <a:ext cx="8229599" cy="738664"/>
          </a:xfrm>
          <a:noFill/>
        </p:spPr>
        <p:txBody>
          <a:bodyPr wrap="square"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3200" spc="0" baseline="0">
                <a:gradFill>
                  <a:gsLst>
                    <a:gs pos="8850">
                      <a:schemeClr val="tx1"/>
                    </a:gs>
                    <a:gs pos="23894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389760253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ct Layout_Accent Color 1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13226" y="2125664"/>
            <a:ext cx="8219813" cy="1828800"/>
          </a:xfrm>
        </p:spPr>
        <p:txBody>
          <a:bodyPr/>
          <a:lstStyle>
            <a:lvl1pPr>
              <a:defRPr sz="5999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10895813"/>
      </p:ext>
    </p:extLst>
  </p:cSld>
  <p:clrMapOvr>
    <a:masterClrMapping/>
  </p:clrMapOvr>
  <p:transition>
    <p:fade/>
  </p:transition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 hasCustomPrompt="1"/>
          </p:nvPr>
        </p:nvSpPr>
        <p:spPr>
          <a:xfrm>
            <a:off x="1189038" y="1201807"/>
            <a:ext cx="10058399" cy="917575"/>
          </a:xfrm>
        </p:spPr>
        <p:txBody>
          <a:bodyPr/>
          <a:lstStyle>
            <a:lvl1pPr marL="233318" indent="-233318">
              <a:defRPr sz="5999" baseline="0"/>
            </a:lvl1pPr>
          </a:lstStyle>
          <a:p>
            <a:r>
              <a:rPr lang="en-US" dirty="0"/>
              <a:t>“Sample quote goes here. Design is easier than it looks, and more important than it seems.”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761038" y="5126038"/>
            <a:ext cx="5486400" cy="1071062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3199" baseline="0">
                <a:latin typeface="+mj-lt"/>
              </a:defRPr>
            </a:lvl1pPr>
          </a:lstStyle>
          <a:p>
            <a:pPr lvl="0"/>
            <a:r>
              <a:rPr lang="en-US" dirty="0"/>
              <a:t>Author Name</a:t>
            </a:r>
          </a:p>
          <a:p>
            <a:pPr lvl="0"/>
            <a:r>
              <a:rPr lang="en-US" dirty="0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654501894"/>
      </p:ext>
    </p:extLst>
  </p:cSld>
  <p:clrMapOvr>
    <a:masterClrMapping/>
  </p:clrMapOvr>
  <p:transition>
    <p:fade/>
  </p:transition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Layout_Accent Color 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 hasCustomPrompt="1"/>
          </p:nvPr>
        </p:nvSpPr>
        <p:spPr>
          <a:xfrm>
            <a:off x="1189038" y="2125664"/>
            <a:ext cx="10058399" cy="917575"/>
          </a:xfrm>
        </p:spPr>
        <p:txBody>
          <a:bodyPr/>
          <a:lstStyle>
            <a:lvl1pPr marL="282520" indent="-282520">
              <a:tabLst>
                <a:tab pos="282520" algn="l"/>
              </a:tabLst>
              <a:defRPr sz="5999" baseline="0"/>
            </a:lvl1pPr>
          </a:lstStyle>
          <a:p>
            <a:r>
              <a:rPr lang="en-US" dirty="0"/>
              <a:t>“	Add a quote here. Design is easier than it looks, and more important than it seems.”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761038" y="4868847"/>
            <a:ext cx="5486400" cy="1071062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3199" baseline="0">
                <a:latin typeface="+mj-lt"/>
              </a:defRPr>
            </a:lvl1pPr>
          </a:lstStyle>
          <a:p>
            <a:pPr lvl="0"/>
            <a:r>
              <a:rPr lang="en-US" dirty="0"/>
              <a:t>Author’s Name</a:t>
            </a:r>
          </a:p>
          <a:p>
            <a:pPr lvl="0"/>
            <a:r>
              <a:rPr lang="en-US" dirty="0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784946347"/>
      </p:ext>
    </p:extLst>
  </p:cSld>
  <p:clrMapOvr>
    <a:masterClrMapping/>
  </p:clrMapOvr>
  <p:transition>
    <p:fade/>
  </p:transition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Idea &amp; 3 Points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82577" y="2430463"/>
            <a:ext cx="11887200" cy="932563"/>
          </a:xfrm>
        </p:spPr>
        <p:txBody>
          <a:bodyPr/>
          <a:lstStyle>
            <a:lvl1pPr marL="0" indent="0">
              <a:buNone/>
              <a:defRPr sz="5399">
                <a:gradFill>
                  <a:gsLst>
                    <a:gs pos="3333">
                      <a:schemeClr val="tx1"/>
                    </a:gs>
                    <a:gs pos="39000">
                      <a:schemeClr val="tx1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2000"/>
            </a:lvl2pPr>
            <a:lvl3pPr marL="228557" indent="0">
              <a:buNone/>
              <a:defRPr/>
            </a:lvl3pPr>
            <a:lvl4pPr marL="457112" indent="0">
              <a:buNone/>
              <a:defRPr/>
            </a:lvl4pPr>
            <a:lvl5pPr marL="685669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282576" y="1211264"/>
            <a:ext cx="11889564" cy="917575"/>
          </a:xfrm>
        </p:spPr>
        <p:txBody>
          <a:bodyPr/>
          <a:lstStyle>
            <a:lvl1pPr>
              <a:defRPr sz="7198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50345752"/>
      </p:ext>
    </p:extLst>
  </p:cSld>
  <p:clrMapOvr>
    <a:masterClrMapping/>
  </p:clrMapOvr>
  <p:transition>
    <p:fade/>
  </p:transition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45158570"/>
      </p:ext>
    </p:extLst>
  </p:cSld>
  <p:clrMapOvr>
    <a:masterClrMapping/>
  </p:clrMapOvr>
  <p:transition>
    <p:fade/>
  </p:transition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1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88660629"/>
      </p:ext>
    </p:extLst>
  </p:cSld>
  <p:clrMapOvr>
    <a:masterClrMapping/>
  </p:clrMapOvr>
  <p:transition>
    <p:fade/>
  </p:transition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97787383"/>
      </p:ext>
    </p:extLst>
  </p:cSld>
  <p:clrMapOvr>
    <a:masterClrMapping/>
  </p:clrMapOvr>
  <p:transition>
    <p:fade/>
  </p:transition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3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98455994"/>
      </p:ext>
    </p:extLst>
  </p:cSld>
  <p:clrMapOvr>
    <a:masterClrMapping/>
  </p:clrMapOvr>
  <p:transition>
    <p:fade/>
  </p:transition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Slide for Developer Code</a:t>
            </a:r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1" y="1212849"/>
            <a:ext cx="12436475" cy="5781676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32" tIns="46632" rIns="46632" bIns="4663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spcBef>
                <a:spcPct val="0"/>
              </a:spcBef>
              <a:spcAft>
                <a:spcPct val="0"/>
              </a:spcAft>
            </a:pPr>
            <a:endParaRPr lang="en-US" sz="18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74638" y="1216153"/>
            <a:ext cx="11887199" cy="2131353"/>
          </a:xfrm>
        </p:spPr>
        <p:txBody>
          <a:bodyPr/>
          <a:lstStyle>
            <a:lvl1pPr marL="0" indent="0">
              <a:buNone/>
              <a:defRPr sz="3299"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487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494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406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795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06482612"/>
      </p:ext>
    </p:extLst>
  </p:cSld>
  <p:clrMapOvr>
    <a:masterClrMapping/>
  </p:clrMapOvr>
  <p:transition>
    <p:fade/>
  </p:transition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74639" y="1212851"/>
            <a:ext cx="11887200" cy="2443746"/>
          </a:xfrm>
          <a:prstGeom prst="rect">
            <a:avLst/>
          </a:prstGeom>
        </p:spPr>
        <p:txBody>
          <a:bodyPr/>
          <a:lstStyle>
            <a:lvl1pPr marL="290457" indent="-290457">
              <a:buClr>
                <a:schemeClr val="tx1"/>
              </a:buClr>
              <a:buSzPct val="90000"/>
              <a:buFont typeface="Wingdings" panose="05000000000000000000" pitchFamily="2" charset="2"/>
              <a:buChar char="§"/>
              <a:defRPr sz="359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71390" indent="-280935">
              <a:buClr>
                <a:schemeClr val="tx1"/>
              </a:buClr>
              <a:buSzPct val="90000"/>
              <a:buFont typeface="Wingdings" panose="05000000000000000000" pitchFamily="2" charset="2"/>
              <a:buChar char="§"/>
              <a:defRPr sz="319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61847" indent="-290457">
              <a:buClr>
                <a:schemeClr val="tx1"/>
              </a:buClr>
              <a:buSzPct val="90000"/>
              <a:buFont typeface="Wingdings" panose="05000000000000000000" pitchFamily="2" charset="2"/>
              <a:buChar char="§"/>
              <a:defRPr sz="28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90404" indent="-228557">
              <a:buClr>
                <a:schemeClr val="tx1"/>
              </a:buClr>
              <a:buSzPct val="90000"/>
              <a:buFont typeface="Wingdings" panose="05000000000000000000" pitchFamily="2" charset="2"/>
              <a:buChar char="§"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318960" indent="-228557">
              <a:buClr>
                <a:schemeClr val="tx1"/>
              </a:buClr>
              <a:buSzPct val="90000"/>
              <a:buFont typeface="Wingdings" panose="05000000000000000000" pitchFamily="2" charset="2"/>
              <a:buChar char="§"/>
              <a:defRPr sz="20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/>
              <a:t>Use this Layout for Speaker Notes slid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2" y="6363076"/>
            <a:ext cx="12436476" cy="631450"/>
          </a:xfrm>
          <a:prstGeom prst="rect">
            <a:avLst/>
          </a:prstGeom>
          <a:solidFill>
            <a:srgbClr val="FFFC9E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699"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9654656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8" y="1209973"/>
            <a:ext cx="8229599" cy="1181862"/>
          </a:xfrm>
          <a:noFill/>
        </p:spPr>
        <p:txBody>
          <a:bodyPr wrap="square" tIns="91440" bIns="91440" anchor="t" anchorCtr="0">
            <a:spAutoFit/>
          </a:bodyPr>
          <a:lstStyle>
            <a:lvl1pPr>
              <a:defRPr sz="7200" spc="-100" baseline="0">
                <a:gradFill>
                  <a:gsLst>
                    <a:gs pos="10619">
                      <a:schemeClr val="tx1"/>
                    </a:gs>
                    <a:gs pos="26549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Video title</a:t>
            </a:r>
          </a:p>
        </p:txBody>
      </p:sp>
    </p:spTree>
    <p:extLst>
      <p:ext uri="{BB962C8B-B14F-4D97-AF65-F5344CB8AC3E}">
        <p14:creationId xmlns:p14="http://schemas.microsoft.com/office/powerpoint/2010/main" val="178414753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74639" y="1212851"/>
            <a:ext cx="11887200" cy="2443746"/>
          </a:xfrm>
          <a:prstGeom prst="rect">
            <a:avLst/>
          </a:prstGeom>
        </p:spPr>
        <p:txBody>
          <a:bodyPr/>
          <a:lstStyle>
            <a:lvl1pPr marL="290457" indent="-290457">
              <a:buClr>
                <a:schemeClr val="tx1"/>
              </a:buClr>
              <a:buSzPct val="90000"/>
              <a:buFont typeface="Wingdings" panose="05000000000000000000" pitchFamily="2" charset="2"/>
              <a:buChar char="§"/>
              <a:defRPr sz="359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71390" indent="-280935">
              <a:buClr>
                <a:schemeClr val="tx1"/>
              </a:buClr>
              <a:buSzPct val="90000"/>
              <a:buFont typeface="Wingdings" panose="05000000000000000000" pitchFamily="2" charset="2"/>
              <a:buChar char="§"/>
              <a:defRPr sz="319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61847" indent="-290457">
              <a:buClr>
                <a:schemeClr val="tx1"/>
              </a:buClr>
              <a:buSzPct val="90000"/>
              <a:buFont typeface="Wingdings" panose="05000000000000000000" pitchFamily="2" charset="2"/>
              <a:buChar char="§"/>
              <a:defRPr sz="28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90404" indent="-228557">
              <a:buClr>
                <a:schemeClr val="tx1"/>
              </a:buClr>
              <a:buSzPct val="90000"/>
              <a:buFont typeface="Wingdings" panose="05000000000000000000" pitchFamily="2" charset="2"/>
              <a:buChar char="§"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318960" indent="-228557">
              <a:buClr>
                <a:schemeClr val="tx1"/>
              </a:buClr>
              <a:buSzPct val="90000"/>
              <a:buFont typeface="Wingdings" panose="05000000000000000000" pitchFamily="2" charset="2"/>
              <a:buChar char="§"/>
              <a:defRPr sz="20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/>
              <a:t>Use this Layout for Speaker Notes slid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2479059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87" name="think-cell Slide" r:id="rId4" imgW="377" imgH="377" progId="TCLayout.ActiveDocument.1">
                  <p:embed/>
                </p:oleObj>
              </mc:Choice>
              <mc:Fallback>
                <p:oleObj name="think-cell Slide" r:id="rId4" imgW="377" imgH="37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Footer Placeholder 2"/>
          <p:cNvSpPr txBox="1">
            <a:spLocks/>
          </p:cNvSpPr>
          <p:nvPr userDrawn="1"/>
        </p:nvSpPr>
        <p:spPr>
          <a:xfrm>
            <a:off x="274639" y="6565392"/>
            <a:ext cx="3937000" cy="137160"/>
          </a:xfrm>
          <a:prstGeom prst="rect">
            <a:avLst/>
          </a:prstGeom>
        </p:spPr>
        <p:txBody>
          <a:bodyPr vert="horz" lIns="0" tIns="0" rIns="91427" bIns="0" rtlCol="0" anchor="ctr"/>
          <a:lstStyle>
            <a:defPPr>
              <a:defRPr lang="en-US"/>
            </a:defPPr>
            <a:lvl1pPr marL="0" algn="l" defTabSz="932742" rtl="0" eaLnBrk="1" latinLnBrk="0" hangingPunct="1">
              <a:defRPr lang="en-US"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66371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742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99113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65484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31856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98226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64597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30969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endParaRPr sz="900" dirty="0">
              <a:solidFill>
                <a:srgbClr val="50505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11693527" y="6515100"/>
            <a:ext cx="731837" cy="37147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9B41CE0-7BB8-478B-B03D-5495234161DB}" type="slidenum">
              <a:rPr lang="en-US" smtClean="0">
                <a:solidFill>
                  <a:srgbClr val="505050"/>
                </a:solidFill>
              </a:rPr>
              <a:pPr/>
              <a:t>‹#›</a:t>
            </a:fld>
            <a:endParaRPr lang="en-US">
              <a:solidFill>
                <a:srgbClr val="505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4686254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 bwMode="auto">
          <a:xfrm>
            <a:off x="274638" y="2119164"/>
            <a:ext cx="6400800" cy="2749700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9" name="Picture 18" hidden="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9231" y="6240963"/>
            <a:ext cx="1278510" cy="274137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464013" y="490737"/>
            <a:ext cx="1436313" cy="306604"/>
          </a:xfrm>
          <a:prstGeom prst="rect">
            <a:avLst/>
          </a:prstGeom>
        </p:spPr>
      </p:pic>
      <p:sp>
        <p:nvSpPr>
          <p:cNvPr id="12" name="Freeform 11"/>
          <p:cNvSpPr>
            <a:spLocks noEditPoints="1"/>
          </p:cNvSpPr>
          <p:nvPr userDrawn="1"/>
        </p:nvSpPr>
        <p:spPr bwMode="black">
          <a:xfrm>
            <a:off x="2137569" y="2473326"/>
            <a:ext cx="8161338" cy="2047875"/>
          </a:xfrm>
          <a:custGeom>
            <a:avLst/>
            <a:gdLst>
              <a:gd name="T0" fmla="*/ 336 w 2176"/>
              <a:gd name="T1" fmla="*/ 2 h 546"/>
              <a:gd name="T2" fmla="*/ 269 w 2176"/>
              <a:gd name="T3" fmla="*/ 2 h 546"/>
              <a:gd name="T4" fmla="*/ 48 w 2176"/>
              <a:gd name="T5" fmla="*/ 538 h 546"/>
              <a:gd name="T6" fmla="*/ 2128 w 2176"/>
              <a:gd name="T7" fmla="*/ 2 h 546"/>
              <a:gd name="T8" fmla="*/ 2176 w 2176"/>
              <a:gd name="T9" fmla="*/ 2 h 546"/>
              <a:gd name="T10" fmla="*/ 1049 w 2176"/>
              <a:gd name="T11" fmla="*/ 175 h 546"/>
              <a:gd name="T12" fmla="*/ 1025 w 2176"/>
              <a:gd name="T13" fmla="*/ 454 h 546"/>
              <a:gd name="T14" fmla="*/ 937 w 2176"/>
              <a:gd name="T15" fmla="*/ 473 h 546"/>
              <a:gd name="T16" fmla="*/ 892 w 2176"/>
              <a:gd name="T17" fmla="*/ 384 h 546"/>
              <a:gd name="T18" fmla="*/ 809 w 2176"/>
              <a:gd name="T19" fmla="*/ 394 h 546"/>
              <a:gd name="T20" fmla="*/ 975 w 2176"/>
              <a:gd name="T21" fmla="*/ 540 h 546"/>
              <a:gd name="T22" fmla="*/ 1048 w 2176"/>
              <a:gd name="T23" fmla="*/ 482 h 546"/>
              <a:gd name="T24" fmla="*/ 1131 w 2176"/>
              <a:gd name="T25" fmla="*/ 536 h 546"/>
              <a:gd name="T26" fmla="*/ 1293 w 2176"/>
              <a:gd name="T27" fmla="*/ 14 h 546"/>
              <a:gd name="T28" fmla="*/ 1238 w 2176"/>
              <a:gd name="T29" fmla="*/ 3 h 546"/>
              <a:gd name="T30" fmla="*/ 1207 w 2176"/>
              <a:gd name="T31" fmla="*/ 48 h 546"/>
              <a:gd name="T32" fmla="*/ 1237 w 2176"/>
              <a:gd name="T33" fmla="*/ 91 h 546"/>
              <a:gd name="T34" fmla="*/ 1293 w 2176"/>
              <a:gd name="T35" fmla="*/ 81 h 546"/>
              <a:gd name="T36" fmla="*/ 1216 w 2176"/>
              <a:gd name="T37" fmla="*/ 536 h 546"/>
              <a:gd name="T38" fmla="*/ 1216 w 2176"/>
              <a:gd name="T39" fmla="*/ 175 h 546"/>
              <a:gd name="T40" fmla="*/ 1457 w 2176"/>
              <a:gd name="T41" fmla="*/ 536 h 546"/>
              <a:gd name="T42" fmla="*/ 1376 w 2176"/>
              <a:gd name="T43" fmla="*/ 536 h 546"/>
              <a:gd name="T44" fmla="*/ 729 w 2176"/>
              <a:gd name="T45" fmla="*/ 213 h 546"/>
              <a:gd name="T46" fmla="*/ 573 w 2176"/>
              <a:gd name="T47" fmla="*/ 163 h 546"/>
              <a:gd name="T48" fmla="*/ 491 w 2176"/>
              <a:gd name="T49" fmla="*/ 226 h 546"/>
              <a:gd name="T50" fmla="*/ 460 w 2176"/>
              <a:gd name="T51" fmla="*/ 2 h 546"/>
              <a:gd name="T52" fmla="*/ 489 w 2176"/>
              <a:gd name="T53" fmla="*/ 537 h 546"/>
              <a:gd name="T54" fmla="*/ 509 w 2176"/>
              <a:gd name="T55" fmla="*/ 512 h 546"/>
              <a:gd name="T56" fmla="*/ 596 w 2176"/>
              <a:gd name="T57" fmla="*/ 546 h 546"/>
              <a:gd name="T58" fmla="*/ 754 w 2176"/>
              <a:gd name="T59" fmla="*/ 423 h 546"/>
              <a:gd name="T60" fmla="*/ 671 w 2176"/>
              <a:gd name="T61" fmla="*/ 400 h 546"/>
              <a:gd name="T62" fmla="*/ 578 w 2176"/>
              <a:gd name="T63" fmla="*/ 478 h 546"/>
              <a:gd name="T64" fmla="*/ 495 w 2176"/>
              <a:gd name="T65" fmla="*/ 421 h 546"/>
              <a:gd name="T66" fmla="*/ 496 w 2176"/>
              <a:gd name="T67" fmla="*/ 291 h 546"/>
              <a:gd name="T68" fmla="*/ 586 w 2176"/>
              <a:gd name="T69" fmla="*/ 226 h 546"/>
              <a:gd name="T70" fmla="*/ 672 w 2176"/>
              <a:gd name="T71" fmla="*/ 293 h 546"/>
              <a:gd name="T72" fmla="*/ 1866 w 2176"/>
              <a:gd name="T73" fmla="*/ 2 h 546"/>
              <a:gd name="T74" fmla="*/ 1783 w 2176"/>
              <a:gd name="T75" fmla="*/ 220 h 546"/>
              <a:gd name="T76" fmla="*/ 1716 w 2176"/>
              <a:gd name="T77" fmla="*/ 171 h 546"/>
              <a:gd name="T78" fmla="*/ 1561 w 2176"/>
              <a:gd name="T79" fmla="*/ 220 h 546"/>
              <a:gd name="T80" fmla="*/ 1526 w 2176"/>
              <a:gd name="T81" fmla="*/ 443 h 546"/>
              <a:gd name="T82" fmla="*/ 1665 w 2176"/>
              <a:gd name="T83" fmla="*/ 546 h 546"/>
              <a:gd name="T84" fmla="*/ 1763 w 2176"/>
              <a:gd name="T85" fmla="*/ 507 h 546"/>
              <a:gd name="T86" fmla="*/ 1785 w 2176"/>
              <a:gd name="T87" fmla="*/ 537 h 546"/>
              <a:gd name="T88" fmla="*/ 1778 w 2176"/>
              <a:gd name="T89" fmla="*/ 413 h 546"/>
              <a:gd name="T90" fmla="*/ 1692 w 2176"/>
              <a:gd name="T91" fmla="*/ 479 h 546"/>
              <a:gd name="T92" fmla="*/ 1607 w 2176"/>
              <a:gd name="T93" fmla="*/ 414 h 546"/>
              <a:gd name="T94" fmla="*/ 1624 w 2176"/>
              <a:gd name="T95" fmla="*/ 269 h 546"/>
              <a:gd name="T96" fmla="*/ 1732 w 2176"/>
              <a:gd name="T97" fmla="*/ 241 h 546"/>
              <a:gd name="T98" fmla="*/ 1786 w 2176"/>
              <a:gd name="T99" fmla="*/ 326 h 5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2176" h="546">
                <a:moveTo>
                  <a:pt x="163" y="538"/>
                </a:moveTo>
                <a:cubicBezTo>
                  <a:pt x="116" y="538"/>
                  <a:pt x="116" y="538"/>
                  <a:pt x="116" y="538"/>
                </a:cubicBezTo>
                <a:cubicBezTo>
                  <a:pt x="336" y="2"/>
                  <a:pt x="336" y="2"/>
                  <a:pt x="336" y="2"/>
                </a:cubicBezTo>
                <a:cubicBezTo>
                  <a:pt x="384" y="2"/>
                  <a:pt x="384" y="2"/>
                  <a:pt x="384" y="2"/>
                </a:cubicBezTo>
                <a:lnTo>
                  <a:pt x="163" y="538"/>
                </a:lnTo>
                <a:close/>
                <a:moveTo>
                  <a:pt x="269" y="2"/>
                </a:moveTo>
                <a:cubicBezTo>
                  <a:pt x="221" y="2"/>
                  <a:pt x="221" y="2"/>
                  <a:pt x="221" y="2"/>
                </a:cubicBezTo>
                <a:cubicBezTo>
                  <a:pt x="0" y="538"/>
                  <a:pt x="0" y="538"/>
                  <a:pt x="0" y="538"/>
                </a:cubicBezTo>
                <a:cubicBezTo>
                  <a:pt x="48" y="538"/>
                  <a:pt x="48" y="538"/>
                  <a:pt x="48" y="538"/>
                </a:cubicBezTo>
                <a:lnTo>
                  <a:pt x="269" y="2"/>
                </a:lnTo>
                <a:close/>
                <a:moveTo>
                  <a:pt x="2176" y="2"/>
                </a:moveTo>
                <a:cubicBezTo>
                  <a:pt x="2128" y="2"/>
                  <a:pt x="2128" y="2"/>
                  <a:pt x="2128" y="2"/>
                </a:cubicBezTo>
                <a:cubicBezTo>
                  <a:pt x="1908" y="538"/>
                  <a:pt x="1908" y="538"/>
                  <a:pt x="1908" y="538"/>
                </a:cubicBezTo>
                <a:cubicBezTo>
                  <a:pt x="1955" y="538"/>
                  <a:pt x="1955" y="538"/>
                  <a:pt x="1955" y="538"/>
                </a:cubicBezTo>
                <a:lnTo>
                  <a:pt x="2176" y="2"/>
                </a:lnTo>
                <a:close/>
                <a:moveTo>
                  <a:pt x="1131" y="536"/>
                </a:moveTo>
                <a:cubicBezTo>
                  <a:pt x="1131" y="175"/>
                  <a:pt x="1131" y="175"/>
                  <a:pt x="1131" y="175"/>
                </a:cubicBezTo>
                <a:cubicBezTo>
                  <a:pt x="1049" y="175"/>
                  <a:pt x="1049" y="175"/>
                  <a:pt x="1049" y="175"/>
                </a:cubicBezTo>
                <a:cubicBezTo>
                  <a:pt x="1049" y="384"/>
                  <a:pt x="1049" y="384"/>
                  <a:pt x="1049" y="384"/>
                </a:cubicBezTo>
                <a:cubicBezTo>
                  <a:pt x="1049" y="399"/>
                  <a:pt x="1047" y="412"/>
                  <a:pt x="1042" y="424"/>
                </a:cubicBezTo>
                <a:cubicBezTo>
                  <a:pt x="1038" y="436"/>
                  <a:pt x="1032" y="446"/>
                  <a:pt x="1025" y="454"/>
                </a:cubicBezTo>
                <a:cubicBezTo>
                  <a:pt x="1017" y="462"/>
                  <a:pt x="1009" y="468"/>
                  <a:pt x="999" y="472"/>
                </a:cubicBezTo>
                <a:cubicBezTo>
                  <a:pt x="989" y="476"/>
                  <a:pt x="978" y="478"/>
                  <a:pt x="967" y="478"/>
                </a:cubicBezTo>
                <a:cubicBezTo>
                  <a:pt x="956" y="478"/>
                  <a:pt x="946" y="476"/>
                  <a:pt x="937" y="473"/>
                </a:cubicBezTo>
                <a:cubicBezTo>
                  <a:pt x="927" y="470"/>
                  <a:pt x="920" y="464"/>
                  <a:pt x="913" y="457"/>
                </a:cubicBezTo>
                <a:cubicBezTo>
                  <a:pt x="906" y="449"/>
                  <a:pt x="901" y="440"/>
                  <a:pt x="897" y="428"/>
                </a:cubicBezTo>
                <a:cubicBezTo>
                  <a:pt x="894" y="416"/>
                  <a:pt x="892" y="401"/>
                  <a:pt x="892" y="384"/>
                </a:cubicBezTo>
                <a:cubicBezTo>
                  <a:pt x="892" y="175"/>
                  <a:pt x="892" y="175"/>
                  <a:pt x="892" y="175"/>
                </a:cubicBezTo>
                <a:cubicBezTo>
                  <a:pt x="809" y="175"/>
                  <a:pt x="809" y="175"/>
                  <a:pt x="809" y="175"/>
                </a:cubicBezTo>
                <a:cubicBezTo>
                  <a:pt x="809" y="394"/>
                  <a:pt x="809" y="394"/>
                  <a:pt x="809" y="394"/>
                </a:cubicBezTo>
                <a:cubicBezTo>
                  <a:pt x="809" y="444"/>
                  <a:pt x="821" y="482"/>
                  <a:pt x="843" y="507"/>
                </a:cubicBezTo>
                <a:cubicBezTo>
                  <a:pt x="865" y="532"/>
                  <a:pt x="897" y="545"/>
                  <a:pt x="939" y="545"/>
                </a:cubicBezTo>
                <a:cubicBezTo>
                  <a:pt x="951" y="545"/>
                  <a:pt x="963" y="543"/>
                  <a:pt x="975" y="540"/>
                </a:cubicBezTo>
                <a:cubicBezTo>
                  <a:pt x="986" y="537"/>
                  <a:pt x="996" y="532"/>
                  <a:pt x="1005" y="526"/>
                </a:cubicBezTo>
                <a:cubicBezTo>
                  <a:pt x="1014" y="521"/>
                  <a:pt x="1022" y="514"/>
                  <a:pt x="1029" y="506"/>
                </a:cubicBezTo>
                <a:cubicBezTo>
                  <a:pt x="1037" y="499"/>
                  <a:pt x="1043" y="490"/>
                  <a:pt x="1048" y="482"/>
                </a:cubicBezTo>
                <a:cubicBezTo>
                  <a:pt x="1049" y="482"/>
                  <a:pt x="1049" y="482"/>
                  <a:pt x="1049" y="482"/>
                </a:cubicBezTo>
                <a:cubicBezTo>
                  <a:pt x="1049" y="536"/>
                  <a:pt x="1049" y="536"/>
                  <a:pt x="1049" y="536"/>
                </a:cubicBezTo>
                <a:lnTo>
                  <a:pt x="1131" y="536"/>
                </a:lnTo>
                <a:close/>
                <a:moveTo>
                  <a:pt x="1307" y="48"/>
                </a:moveTo>
                <a:cubicBezTo>
                  <a:pt x="1307" y="41"/>
                  <a:pt x="1306" y="35"/>
                  <a:pt x="1303" y="29"/>
                </a:cubicBezTo>
                <a:cubicBezTo>
                  <a:pt x="1301" y="23"/>
                  <a:pt x="1297" y="18"/>
                  <a:pt x="1293" y="14"/>
                </a:cubicBezTo>
                <a:cubicBezTo>
                  <a:pt x="1288" y="9"/>
                  <a:pt x="1283" y="6"/>
                  <a:pt x="1277" y="3"/>
                </a:cubicBezTo>
                <a:cubicBezTo>
                  <a:pt x="1271" y="1"/>
                  <a:pt x="1264" y="0"/>
                  <a:pt x="1257" y="0"/>
                </a:cubicBezTo>
                <a:cubicBezTo>
                  <a:pt x="1250" y="0"/>
                  <a:pt x="1244" y="1"/>
                  <a:pt x="1238" y="3"/>
                </a:cubicBezTo>
                <a:cubicBezTo>
                  <a:pt x="1232" y="6"/>
                  <a:pt x="1226" y="9"/>
                  <a:pt x="1222" y="13"/>
                </a:cubicBezTo>
                <a:cubicBezTo>
                  <a:pt x="1217" y="18"/>
                  <a:pt x="1214" y="23"/>
                  <a:pt x="1211" y="29"/>
                </a:cubicBezTo>
                <a:cubicBezTo>
                  <a:pt x="1209" y="34"/>
                  <a:pt x="1207" y="41"/>
                  <a:pt x="1207" y="48"/>
                </a:cubicBezTo>
                <a:cubicBezTo>
                  <a:pt x="1207" y="54"/>
                  <a:pt x="1209" y="60"/>
                  <a:pt x="1211" y="66"/>
                </a:cubicBezTo>
                <a:cubicBezTo>
                  <a:pt x="1214" y="72"/>
                  <a:pt x="1217" y="77"/>
                  <a:pt x="1221" y="81"/>
                </a:cubicBezTo>
                <a:cubicBezTo>
                  <a:pt x="1226" y="85"/>
                  <a:pt x="1231" y="88"/>
                  <a:pt x="1237" y="91"/>
                </a:cubicBezTo>
                <a:cubicBezTo>
                  <a:pt x="1243" y="93"/>
                  <a:pt x="1250" y="95"/>
                  <a:pt x="1257" y="95"/>
                </a:cubicBezTo>
                <a:cubicBezTo>
                  <a:pt x="1264" y="95"/>
                  <a:pt x="1271" y="93"/>
                  <a:pt x="1277" y="91"/>
                </a:cubicBezTo>
                <a:cubicBezTo>
                  <a:pt x="1283" y="88"/>
                  <a:pt x="1289" y="85"/>
                  <a:pt x="1293" y="81"/>
                </a:cubicBezTo>
                <a:cubicBezTo>
                  <a:pt x="1297" y="77"/>
                  <a:pt x="1301" y="72"/>
                  <a:pt x="1303" y="66"/>
                </a:cubicBezTo>
                <a:cubicBezTo>
                  <a:pt x="1306" y="60"/>
                  <a:pt x="1307" y="54"/>
                  <a:pt x="1307" y="48"/>
                </a:cubicBezTo>
                <a:moveTo>
                  <a:pt x="1216" y="536"/>
                </a:moveTo>
                <a:cubicBezTo>
                  <a:pt x="1297" y="536"/>
                  <a:pt x="1297" y="536"/>
                  <a:pt x="1297" y="536"/>
                </a:cubicBezTo>
                <a:cubicBezTo>
                  <a:pt x="1297" y="175"/>
                  <a:pt x="1297" y="175"/>
                  <a:pt x="1297" y="175"/>
                </a:cubicBezTo>
                <a:cubicBezTo>
                  <a:pt x="1216" y="175"/>
                  <a:pt x="1216" y="175"/>
                  <a:pt x="1216" y="175"/>
                </a:cubicBezTo>
                <a:lnTo>
                  <a:pt x="1216" y="536"/>
                </a:lnTo>
                <a:close/>
                <a:moveTo>
                  <a:pt x="1376" y="536"/>
                </a:moveTo>
                <a:cubicBezTo>
                  <a:pt x="1457" y="536"/>
                  <a:pt x="1457" y="536"/>
                  <a:pt x="1457" y="536"/>
                </a:cubicBezTo>
                <a:cubicBezTo>
                  <a:pt x="1457" y="2"/>
                  <a:pt x="1457" y="2"/>
                  <a:pt x="1457" y="2"/>
                </a:cubicBezTo>
                <a:cubicBezTo>
                  <a:pt x="1376" y="2"/>
                  <a:pt x="1376" y="2"/>
                  <a:pt x="1376" y="2"/>
                </a:cubicBezTo>
                <a:lnTo>
                  <a:pt x="1376" y="536"/>
                </a:lnTo>
                <a:close/>
                <a:moveTo>
                  <a:pt x="765" y="342"/>
                </a:moveTo>
                <a:cubicBezTo>
                  <a:pt x="765" y="317"/>
                  <a:pt x="762" y="294"/>
                  <a:pt x="756" y="272"/>
                </a:cubicBezTo>
                <a:cubicBezTo>
                  <a:pt x="750" y="249"/>
                  <a:pt x="741" y="230"/>
                  <a:pt x="729" y="213"/>
                </a:cubicBezTo>
                <a:cubicBezTo>
                  <a:pt x="717" y="196"/>
                  <a:pt x="701" y="183"/>
                  <a:pt x="682" y="173"/>
                </a:cubicBezTo>
                <a:cubicBezTo>
                  <a:pt x="663" y="163"/>
                  <a:pt x="640" y="158"/>
                  <a:pt x="613" y="158"/>
                </a:cubicBezTo>
                <a:cubicBezTo>
                  <a:pt x="599" y="158"/>
                  <a:pt x="585" y="160"/>
                  <a:pt x="573" y="163"/>
                </a:cubicBezTo>
                <a:cubicBezTo>
                  <a:pt x="561" y="166"/>
                  <a:pt x="549" y="171"/>
                  <a:pt x="539" y="177"/>
                </a:cubicBezTo>
                <a:cubicBezTo>
                  <a:pt x="529" y="183"/>
                  <a:pt x="520" y="190"/>
                  <a:pt x="512" y="199"/>
                </a:cubicBezTo>
                <a:cubicBezTo>
                  <a:pt x="504" y="207"/>
                  <a:pt x="497" y="216"/>
                  <a:pt x="491" y="226"/>
                </a:cubicBezTo>
                <a:cubicBezTo>
                  <a:pt x="489" y="226"/>
                  <a:pt x="489" y="226"/>
                  <a:pt x="489" y="226"/>
                </a:cubicBezTo>
                <a:cubicBezTo>
                  <a:pt x="489" y="2"/>
                  <a:pt x="489" y="2"/>
                  <a:pt x="489" y="2"/>
                </a:cubicBezTo>
                <a:cubicBezTo>
                  <a:pt x="460" y="2"/>
                  <a:pt x="460" y="2"/>
                  <a:pt x="460" y="2"/>
                </a:cubicBezTo>
                <a:cubicBezTo>
                  <a:pt x="406" y="133"/>
                  <a:pt x="406" y="133"/>
                  <a:pt x="406" y="133"/>
                </a:cubicBezTo>
                <a:cubicBezTo>
                  <a:pt x="406" y="537"/>
                  <a:pt x="406" y="537"/>
                  <a:pt x="406" y="537"/>
                </a:cubicBezTo>
                <a:cubicBezTo>
                  <a:pt x="489" y="537"/>
                  <a:pt x="489" y="537"/>
                  <a:pt x="489" y="537"/>
                </a:cubicBezTo>
                <a:cubicBezTo>
                  <a:pt x="489" y="490"/>
                  <a:pt x="489" y="490"/>
                  <a:pt x="489" y="490"/>
                </a:cubicBezTo>
                <a:cubicBezTo>
                  <a:pt x="491" y="490"/>
                  <a:pt x="491" y="490"/>
                  <a:pt x="491" y="490"/>
                </a:cubicBezTo>
                <a:cubicBezTo>
                  <a:pt x="496" y="498"/>
                  <a:pt x="502" y="505"/>
                  <a:pt x="509" y="512"/>
                </a:cubicBezTo>
                <a:cubicBezTo>
                  <a:pt x="515" y="519"/>
                  <a:pt x="523" y="525"/>
                  <a:pt x="532" y="530"/>
                </a:cubicBezTo>
                <a:cubicBezTo>
                  <a:pt x="540" y="535"/>
                  <a:pt x="550" y="539"/>
                  <a:pt x="561" y="542"/>
                </a:cubicBezTo>
                <a:cubicBezTo>
                  <a:pt x="571" y="544"/>
                  <a:pt x="583" y="546"/>
                  <a:pt x="596" y="546"/>
                </a:cubicBezTo>
                <a:cubicBezTo>
                  <a:pt x="623" y="546"/>
                  <a:pt x="647" y="541"/>
                  <a:pt x="668" y="530"/>
                </a:cubicBezTo>
                <a:cubicBezTo>
                  <a:pt x="689" y="520"/>
                  <a:pt x="707" y="506"/>
                  <a:pt x="721" y="488"/>
                </a:cubicBezTo>
                <a:cubicBezTo>
                  <a:pt x="736" y="470"/>
                  <a:pt x="747" y="448"/>
                  <a:pt x="754" y="423"/>
                </a:cubicBezTo>
                <a:cubicBezTo>
                  <a:pt x="761" y="398"/>
                  <a:pt x="765" y="371"/>
                  <a:pt x="765" y="342"/>
                </a:cubicBezTo>
                <a:moveTo>
                  <a:pt x="678" y="341"/>
                </a:moveTo>
                <a:cubicBezTo>
                  <a:pt x="678" y="363"/>
                  <a:pt x="676" y="383"/>
                  <a:pt x="671" y="400"/>
                </a:cubicBezTo>
                <a:cubicBezTo>
                  <a:pt x="667" y="418"/>
                  <a:pt x="660" y="432"/>
                  <a:pt x="651" y="443"/>
                </a:cubicBezTo>
                <a:cubicBezTo>
                  <a:pt x="643" y="455"/>
                  <a:pt x="632" y="463"/>
                  <a:pt x="620" y="469"/>
                </a:cubicBezTo>
                <a:cubicBezTo>
                  <a:pt x="607" y="475"/>
                  <a:pt x="593" y="478"/>
                  <a:pt x="578" y="478"/>
                </a:cubicBezTo>
                <a:cubicBezTo>
                  <a:pt x="565" y="478"/>
                  <a:pt x="553" y="475"/>
                  <a:pt x="542" y="470"/>
                </a:cubicBezTo>
                <a:cubicBezTo>
                  <a:pt x="531" y="466"/>
                  <a:pt x="522" y="459"/>
                  <a:pt x="514" y="450"/>
                </a:cubicBezTo>
                <a:cubicBezTo>
                  <a:pt x="506" y="442"/>
                  <a:pt x="500" y="432"/>
                  <a:pt x="495" y="421"/>
                </a:cubicBezTo>
                <a:cubicBezTo>
                  <a:pt x="491" y="410"/>
                  <a:pt x="488" y="397"/>
                  <a:pt x="488" y="384"/>
                </a:cubicBezTo>
                <a:cubicBezTo>
                  <a:pt x="488" y="336"/>
                  <a:pt x="488" y="336"/>
                  <a:pt x="488" y="336"/>
                </a:cubicBezTo>
                <a:cubicBezTo>
                  <a:pt x="488" y="319"/>
                  <a:pt x="491" y="304"/>
                  <a:pt x="496" y="291"/>
                </a:cubicBezTo>
                <a:cubicBezTo>
                  <a:pt x="500" y="278"/>
                  <a:pt x="507" y="266"/>
                  <a:pt x="516" y="257"/>
                </a:cubicBezTo>
                <a:cubicBezTo>
                  <a:pt x="524" y="247"/>
                  <a:pt x="534" y="240"/>
                  <a:pt x="546" y="234"/>
                </a:cubicBezTo>
                <a:cubicBezTo>
                  <a:pt x="558" y="229"/>
                  <a:pt x="571" y="226"/>
                  <a:pt x="586" y="226"/>
                </a:cubicBezTo>
                <a:cubicBezTo>
                  <a:pt x="601" y="226"/>
                  <a:pt x="614" y="229"/>
                  <a:pt x="625" y="234"/>
                </a:cubicBezTo>
                <a:cubicBezTo>
                  <a:pt x="636" y="240"/>
                  <a:pt x="646" y="247"/>
                  <a:pt x="654" y="257"/>
                </a:cubicBezTo>
                <a:cubicBezTo>
                  <a:pt x="662" y="267"/>
                  <a:pt x="668" y="279"/>
                  <a:pt x="672" y="293"/>
                </a:cubicBezTo>
                <a:cubicBezTo>
                  <a:pt x="676" y="307"/>
                  <a:pt x="678" y="323"/>
                  <a:pt x="678" y="341"/>
                </a:cubicBezTo>
                <a:moveTo>
                  <a:pt x="1866" y="537"/>
                </a:moveTo>
                <a:cubicBezTo>
                  <a:pt x="1866" y="2"/>
                  <a:pt x="1866" y="2"/>
                  <a:pt x="1866" y="2"/>
                </a:cubicBezTo>
                <a:cubicBezTo>
                  <a:pt x="1785" y="2"/>
                  <a:pt x="1785" y="2"/>
                  <a:pt x="1785" y="2"/>
                </a:cubicBezTo>
                <a:cubicBezTo>
                  <a:pt x="1785" y="220"/>
                  <a:pt x="1785" y="220"/>
                  <a:pt x="1785" y="220"/>
                </a:cubicBezTo>
                <a:cubicBezTo>
                  <a:pt x="1783" y="220"/>
                  <a:pt x="1783" y="220"/>
                  <a:pt x="1783" y="220"/>
                </a:cubicBezTo>
                <a:cubicBezTo>
                  <a:pt x="1779" y="213"/>
                  <a:pt x="1773" y="206"/>
                  <a:pt x="1767" y="199"/>
                </a:cubicBezTo>
                <a:cubicBezTo>
                  <a:pt x="1760" y="192"/>
                  <a:pt x="1753" y="187"/>
                  <a:pt x="1744" y="182"/>
                </a:cubicBezTo>
                <a:cubicBezTo>
                  <a:pt x="1736" y="177"/>
                  <a:pt x="1726" y="173"/>
                  <a:pt x="1716" y="171"/>
                </a:cubicBezTo>
                <a:cubicBezTo>
                  <a:pt x="1705" y="168"/>
                  <a:pt x="1693" y="167"/>
                  <a:pt x="1681" y="167"/>
                </a:cubicBezTo>
                <a:cubicBezTo>
                  <a:pt x="1656" y="167"/>
                  <a:pt x="1633" y="171"/>
                  <a:pt x="1613" y="181"/>
                </a:cubicBezTo>
                <a:cubicBezTo>
                  <a:pt x="1592" y="190"/>
                  <a:pt x="1575" y="203"/>
                  <a:pt x="1561" y="220"/>
                </a:cubicBezTo>
                <a:cubicBezTo>
                  <a:pt x="1546" y="238"/>
                  <a:pt x="1535" y="259"/>
                  <a:pt x="1527" y="283"/>
                </a:cubicBezTo>
                <a:cubicBezTo>
                  <a:pt x="1519" y="308"/>
                  <a:pt x="1515" y="335"/>
                  <a:pt x="1515" y="365"/>
                </a:cubicBezTo>
                <a:cubicBezTo>
                  <a:pt x="1515" y="394"/>
                  <a:pt x="1519" y="420"/>
                  <a:pt x="1526" y="443"/>
                </a:cubicBezTo>
                <a:cubicBezTo>
                  <a:pt x="1534" y="465"/>
                  <a:pt x="1544" y="484"/>
                  <a:pt x="1558" y="500"/>
                </a:cubicBezTo>
                <a:cubicBezTo>
                  <a:pt x="1571" y="515"/>
                  <a:pt x="1587" y="526"/>
                  <a:pt x="1605" y="534"/>
                </a:cubicBezTo>
                <a:cubicBezTo>
                  <a:pt x="1624" y="542"/>
                  <a:pt x="1643" y="546"/>
                  <a:pt x="1665" y="546"/>
                </a:cubicBezTo>
                <a:cubicBezTo>
                  <a:pt x="1679" y="546"/>
                  <a:pt x="1693" y="544"/>
                  <a:pt x="1705" y="541"/>
                </a:cubicBezTo>
                <a:cubicBezTo>
                  <a:pt x="1717" y="538"/>
                  <a:pt x="1728" y="533"/>
                  <a:pt x="1737" y="528"/>
                </a:cubicBezTo>
                <a:cubicBezTo>
                  <a:pt x="1747" y="522"/>
                  <a:pt x="1756" y="515"/>
                  <a:pt x="1763" y="507"/>
                </a:cubicBezTo>
                <a:cubicBezTo>
                  <a:pt x="1771" y="499"/>
                  <a:pt x="1778" y="490"/>
                  <a:pt x="1783" y="480"/>
                </a:cubicBezTo>
                <a:cubicBezTo>
                  <a:pt x="1785" y="480"/>
                  <a:pt x="1785" y="480"/>
                  <a:pt x="1785" y="480"/>
                </a:cubicBezTo>
                <a:cubicBezTo>
                  <a:pt x="1785" y="537"/>
                  <a:pt x="1785" y="537"/>
                  <a:pt x="1785" y="537"/>
                </a:cubicBezTo>
                <a:lnTo>
                  <a:pt x="1866" y="537"/>
                </a:lnTo>
                <a:close/>
                <a:moveTo>
                  <a:pt x="1786" y="366"/>
                </a:moveTo>
                <a:cubicBezTo>
                  <a:pt x="1786" y="384"/>
                  <a:pt x="1783" y="399"/>
                  <a:pt x="1778" y="413"/>
                </a:cubicBezTo>
                <a:cubicBezTo>
                  <a:pt x="1773" y="427"/>
                  <a:pt x="1767" y="439"/>
                  <a:pt x="1758" y="449"/>
                </a:cubicBezTo>
                <a:cubicBezTo>
                  <a:pt x="1750" y="458"/>
                  <a:pt x="1740" y="466"/>
                  <a:pt x="1728" y="471"/>
                </a:cubicBezTo>
                <a:cubicBezTo>
                  <a:pt x="1717" y="476"/>
                  <a:pt x="1705" y="479"/>
                  <a:pt x="1692" y="479"/>
                </a:cubicBezTo>
                <a:cubicBezTo>
                  <a:pt x="1679" y="479"/>
                  <a:pt x="1667" y="477"/>
                  <a:pt x="1656" y="472"/>
                </a:cubicBezTo>
                <a:cubicBezTo>
                  <a:pt x="1644" y="467"/>
                  <a:pt x="1635" y="460"/>
                  <a:pt x="1626" y="450"/>
                </a:cubicBezTo>
                <a:cubicBezTo>
                  <a:pt x="1618" y="440"/>
                  <a:pt x="1612" y="428"/>
                  <a:pt x="1607" y="414"/>
                </a:cubicBezTo>
                <a:cubicBezTo>
                  <a:pt x="1602" y="399"/>
                  <a:pt x="1600" y="382"/>
                  <a:pt x="1600" y="363"/>
                </a:cubicBezTo>
                <a:cubicBezTo>
                  <a:pt x="1600" y="343"/>
                  <a:pt x="1602" y="325"/>
                  <a:pt x="1606" y="309"/>
                </a:cubicBezTo>
                <a:cubicBezTo>
                  <a:pt x="1610" y="294"/>
                  <a:pt x="1616" y="280"/>
                  <a:pt x="1624" y="269"/>
                </a:cubicBezTo>
                <a:cubicBezTo>
                  <a:pt x="1632" y="257"/>
                  <a:pt x="1642" y="249"/>
                  <a:pt x="1654" y="242"/>
                </a:cubicBezTo>
                <a:cubicBezTo>
                  <a:pt x="1667" y="236"/>
                  <a:pt x="1681" y="233"/>
                  <a:pt x="1697" y="233"/>
                </a:cubicBezTo>
                <a:cubicBezTo>
                  <a:pt x="1709" y="233"/>
                  <a:pt x="1721" y="236"/>
                  <a:pt x="1732" y="241"/>
                </a:cubicBezTo>
                <a:cubicBezTo>
                  <a:pt x="1743" y="245"/>
                  <a:pt x="1752" y="252"/>
                  <a:pt x="1760" y="260"/>
                </a:cubicBezTo>
                <a:cubicBezTo>
                  <a:pt x="1768" y="269"/>
                  <a:pt x="1774" y="279"/>
                  <a:pt x="1779" y="290"/>
                </a:cubicBezTo>
                <a:cubicBezTo>
                  <a:pt x="1783" y="301"/>
                  <a:pt x="1786" y="313"/>
                  <a:pt x="1786" y="326"/>
                </a:cubicBezTo>
                <a:lnTo>
                  <a:pt x="1786" y="366"/>
                </a:lnTo>
                <a:close/>
              </a:path>
            </a:pathLst>
          </a:custGeom>
          <a:solidFill>
            <a:srgbClr val="00BCF2"/>
          </a:solidFill>
          <a:ln>
            <a:noFill/>
          </a:ln>
        </p:spPr>
        <p:txBody>
          <a:bodyPr vert="horz" wrap="square" lIns="91427" tIns="45713" rIns="91427" bIns="45713" numCol="1" anchor="t" anchorCtr="0" compatLnSpc="1">
            <a:prstTxWarp prst="textNoShape">
              <a:avLst/>
            </a:prstTxWarp>
          </a:bodyPr>
          <a:lstStyle/>
          <a:p>
            <a:endParaRPr lang="en-US" sz="1800"/>
          </a:p>
        </p:txBody>
      </p:sp>
    </p:spTree>
    <p:extLst>
      <p:ext uri="{BB962C8B-B14F-4D97-AF65-F5344CB8AC3E}">
        <p14:creationId xmlns:p14="http://schemas.microsoft.com/office/powerpoint/2010/main" val="4267672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Microsof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 hidden="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459231" y="6240963"/>
            <a:ext cx="1278510" cy="274137"/>
          </a:xfrm>
          <a:prstGeom prst="rect">
            <a:avLst/>
          </a:prstGeom>
        </p:spPr>
      </p:pic>
      <p:sp>
        <p:nvSpPr>
          <p:cNvPr id="18" name="Title 1"/>
          <p:cNvSpPr>
            <a:spLocks noGrp="1"/>
          </p:cNvSpPr>
          <p:nvPr>
            <p:ph type="title" hasCustomPrompt="1"/>
          </p:nvPr>
        </p:nvSpPr>
        <p:spPr>
          <a:xfrm>
            <a:off x="274702" y="2125678"/>
            <a:ext cx="10058336" cy="1828786"/>
          </a:xfrm>
          <a:noFill/>
        </p:spPr>
        <p:txBody>
          <a:bodyPr lIns="146304" tIns="91440" rIns="146304" bIns="91440" anchor="t" anchorCtr="0"/>
          <a:lstStyle>
            <a:lvl1pPr>
              <a:defRPr sz="5399" spc="-100" baseline="0">
                <a:gradFill>
                  <a:gsLst>
                    <a:gs pos="100000">
                      <a:schemeClr val="tx2"/>
                    </a:gs>
                    <a:gs pos="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702" y="3955786"/>
            <a:ext cx="10058337" cy="1828007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3199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380"/>
          <a:stretch/>
        </p:blipFill>
        <p:spPr bwMode="invGray">
          <a:xfrm>
            <a:off x="457200" y="490737"/>
            <a:ext cx="1449939" cy="306604"/>
          </a:xfrm>
          <a:prstGeom prst="rect">
            <a:avLst/>
          </a:prstGeom>
        </p:spPr>
      </p:pic>
      <p:sp>
        <p:nvSpPr>
          <p:cNvPr id="7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8504239" y="307622"/>
            <a:ext cx="3656013" cy="578303"/>
          </a:xfrm>
        </p:spPr>
        <p:txBody>
          <a:bodyPr lIns="182880" tIns="146304" rIns="182880" bIns="146304"/>
          <a:lstStyle>
            <a:lvl1pPr marL="0" indent="0" algn="r">
              <a:buNone/>
              <a:defRPr sz="2000">
                <a:latin typeface="+mn-lt"/>
              </a:defRPr>
            </a:lvl1pPr>
            <a:lvl2pPr marL="342834" indent="0">
              <a:buNone/>
              <a:defRPr sz="2000"/>
            </a:lvl2pPr>
            <a:lvl3pPr marL="571390" indent="0">
              <a:buNone/>
              <a:defRPr sz="2000"/>
            </a:lvl3pPr>
            <a:lvl4pPr marL="799946" indent="0">
              <a:buNone/>
              <a:defRPr sz="2000"/>
            </a:lvl4pPr>
            <a:lvl5pPr marL="1028503" indent="0">
              <a:buNone/>
              <a:defRPr sz="2000"/>
            </a:lvl5pPr>
          </a:lstStyle>
          <a:p>
            <a:pPr lvl="0"/>
            <a:r>
              <a:rPr lang="en-US" dirty="0"/>
              <a:t>Session Code Here</a:t>
            </a:r>
          </a:p>
        </p:txBody>
      </p:sp>
      <p:sp>
        <p:nvSpPr>
          <p:cNvPr id="2" name="TextBox 1"/>
          <p:cNvSpPr txBox="1"/>
          <p:nvPr userDrawn="1"/>
        </p:nvSpPr>
        <p:spPr>
          <a:xfrm>
            <a:off x="288989" y="6072576"/>
            <a:ext cx="1930897" cy="634440"/>
          </a:xfrm>
          <a:prstGeom prst="rect">
            <a:avLst/>
          </a:prstGeom>
          <a:noFill/>
        </p:spPr>
        <p:txBody>
          <a:bodyPr wrap="none" lIns="182854" tIns="146283" rIns="182854" bIns="146283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#Build2016</a:t>
            </a:r>
          </a:p>
        </p:txBody>
      </p:sp>
    </p:spTree>
    <p:extLst>
      <p:ext uri="{BB962C8B-B14F-4D97-AF65-F5344CB8AC3E}">
        <p14:creationId xmlns:p14="http://schemas.microsoft.com/office/powerpoint/2010/main" val="82381366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Build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 hidden="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459231" y="6240963"/>
            <a:ext cx="1278510" cy="274137"/>
          </a:xfrm>
          <a:prstGeom prst="rect">
            <a:avLst/>
          </a:prstGeom>
        </p:spPr>
      </p:pic>
      <p:sp>
        <p:nvSpPr>
          <p:cNvPr id="18" name="Title 1"/>
          <p:cNvSpPr>
            <a:spLocks noGrp="1"/>
          </p:cNvSpPr>
          <p:nvPr>
            <p:ph type="title" hasCustomPrompt="1"/>
          </p:nvPr>
        </p:nvSpPr>
        <p:spPr>
          <a:xfrm>
            <a:off x="274702" y="2125678"/>
            <a:ext cx="10058336" cy="1828786"/>
          </a:xfrm>
          <a:noFill/>
        </p:spPr>
        <p:txBody>
          <a:bodyPr lIns="146304" tIns="91440" rIns="146304" bIns="91440" anchor="t" anchorCtr="0"/>
          <a:lstStyle>
            <a:lvl1pPr>
              <a:defRPr sz="5399" spc="-100" baseline="0">
                <a:gradFill>
                  <a:gsLst>
                    <a:gs pos="100000">
                      <a:schemeClr val="tx2"/>
                    </a:gs>
                    <a:gs pos="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702" y="3955786"/>
            <a:ext cx="10058337" cy="1828007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3199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8504239" y="307622"/>
            <a:ext cx="3656013" cy="578303"/>
          </a:xfrm>
        </p:spPr>
        <p:txBody>
          <a:bodyPr lIns="182880" tIns="146304" rIns="182880" bIns="146304"/>
          <a:lstStyle>
            <a:lvl1pPr marL="0" indent="0" algn="r">
              <a:buNone/>
              <a:defRPr sz="2000">
                <a:latin typeface="+mn-lt"/>
              </a:defRPr>
            </a:lvl1pPr>
            <a:lvl2pPr marL="342834" indent="0">
              <a:buNone/>
              <a:defRPr sz="2000"/>
            </a:lvl2pPr>
            <a:lvl3pPr marL="571390" indent="0">
              <a:buNone/>
              <a:defRPr sz="2000"/>
            </a:lvl3pPr>
            <a:lvl4pPr marL="799946" indent="0">
              <a:buNone/>
              <a:defRPr sz="2000"/>
            </a:lvl4pPr>
            <a:lvl5pPr marL="1028503" indent="0">
              <a:buNone/>
              <a:defRPr sz="2000"/>
            </a:lvl5pPr>
          </a:lstStyle>
          <a:p>
            <a:pPr lvl="0"/>
            <a:r>
              <a:rPr lang="en-US" dirty="0"/>
              <a:t>Session Code Here</a:t>
            </a:r>
          </a:p>
        </p:txBody>
      </p:sp>
      <p:sp>
        <p:nvSpPr>
          <p:cNvPr id="8" name="Freeform 7"/>
          <p:cNvSpPr>
            <a:spLocks noChangeAspect="1" noEditPoints="1"/>
          </p:cNvSpPr>
          <p:nvPr userDrawn="1"/>
        </p:nvSpPr>
        <p:spPr bwMode="black">
          <a:xfrm>
            <a:off x="457200" y="490736"/>
            <a:ext cx="1239006" cy="310896"/>
          </a:xfrm>
          <a:custGeom>
            <a:avLst/>
            <a:gdLst>
              <a:gd name="T0" fmla="*/ 336 w 2176"/>
              <a:gd name="T1" fmla="*/ 2 h 546"/>
              <a:gd name="T2" fmla="*/ 269 w 2176"/>
              <a:gd name="T3" fmla="*/ 2 h 546"/>
              <a:gd name="T4" fmla="*/ 48 w 2176"/>
              <a:gd name="T5" fmla="*/ 538 h 546"/>
              <a:gd name="T6" fmla="*/ 2128 w 2176"/>
              <a:gd name="T7" fmla="*/ 2 h 546"/>
              <a:gd name="T8" fmla="*/ 2176 w 2176"/>
              <a:gd name="T9" fmla="*/ 2 h 546"/>
              <a:gd name="T10" fmla="*/ 1049 w 2176"/>
              <a:gd name="T11" fmla="*/ 175 h 546"/>
              <a:gd name="T12" fmla="*/ 1025 w 2176"/>
              <a:gd name="T13" fmla="*/ 454 h 546"/>
              <a:gd name="T14" fmla="*/ 937 w 2176"/>
              <a:gd name="T15" fmla="*/ 473 h 546"/>
              <a:gd name="T16" fmla="*/ 892 w 2176"/>
              <a:gd name="T17" fmla="*/ 384 h 546"/>
              <a:gd name="T18" fmla="*/ 809 w 2176"/>
              <a:gd name="T19" fmla="*/ 394 h 546"/>
              <a:gd name="T20" fmla="*/ 975 w 2176"/>
              <a:gd name="T21" fmla="*/ 540 h 546"/>
              <a:gd name="T22" fmla="*/ 1048 w 2176"/>
              <a:gd name="T23" fmla="*/ 482 h 546"/>
              <a:gd name="T24" fmla="*/ 1131 w 2176"/>
              <a:gd name="T25" fmla="*/ 536 h 546"/>
              <a:gd name="T26" fmla="*/ 1293 w 2176"/>
              <a:gd name="T27" fmla="*/ 14 h 546"/>
              <a:gd name="T28" fmla="*/ 1238 w 2176"/>
              <a:gd name="T29" fmla="*/ 3 h 546"/>
              <a:gd name="T30" fmla="*/ 1207 w 2176"/>
              <a:gd name="T31" fmla="*/ 48 h 546"/>
              <a:gd name="T32" fmla="*/ 1237 w 2176"/>
              <a:gd name="T33" fmla="*/ 91 h 546"/>
              <a:gd name="T34" fmla="*/ 1293 w 2176"/>
              <a:gd name="T35" fmla="*/ 81 h 546"/>
              <a:gd name="T36" fmla="*/ 1216 w 2176"/>
              <a:gd name="T37" fmla="*/ 536 h 546"/>
              <a:gd name="T38" fmla="*/ 1216 w 2176"/>
              <a:gd name="T39" fmla="*/ 175 h 546"/>
              <a:gd name="T40" fmla="*/ 1457 w 2176"/>
              <a:gd name="T41" fmla="*/ 536 h 546"/>
              <a:gd name="T42" fmla="*/ 1376 w 2176"/>
              <a:gd name="T43" fmla="*/ 536 h 546"/>
              <a:gd name="T44" fmla="*/ 729 w 2176"/>
              <a:gd name="T45" fmla="*/ 213 h 546"/>
              <a:gd name="T46" fmla="*/ 573 w 2176"/>
              <a:gd name="T47" fmla="*/ 163 h 546"/>
              <a:gd name="T48" fmla="*/ 491 w 2176"/>
              <a:gd name="T49" fmla="*/ 226 h 546"/>
              <a:gd name="T50" fmla="*/ 460 w 2176"/>
              <a:gd name="T51" fmla="*/ 2 h 546"/>
              <a:gd name="T52" fmla="*/ 489 w 2176"/>
              <a:gd name="T53" fmla="*/ 537 h 546"/>
              <a:gd name="T54" fmla="*/ 509 w 2176"/>
              <a:gd name="T55" fmla="*/ 512 h 546"/>
              <a:gd name="T56" fmla="*/ 596 w 2176"/>
              <a:gd name="T57" fmla="*/ 546 h 546"/>
              <a:gd name="T58" fmla="*/ 754 w 2176"/>
              <a:gd name="T59" fmla="*/ 423 h 546"/>
              <a:gd name="T60" fmla="*/ 671 w 2176"/>
              <a:gd name="T61" fmla="*/ 400 h 546"/>
              <a:gd name="T62" fmla="*/ 578 w 2176"/>
              <a:gd name="T63" fmla="*/ 478 h 546"/>
              <a:gd name="T64" fmla="*/ 495 w 2176"/>
              <a:gd name="T65" fmla="*/ 421 h 546"/>
              <a:gd name="T66" fmla="*/ 496 w 2176"/>
              <a:gd name="T67" fmla="*/ 291 h 546"/>
              <a:gd name="T68" fmla="*/ 586 w 2176"/>
              <a:gd name="T69" fmla="*/ 226 h 546"/>
              <a:gd name="T70" fmla="*/ 672 w 2176"/>
              <a:gd name="T71" fmla="*/ 293 h 546"/>
              <a:gd name="T72" fmla="*/ 1866 w 2176"/>
              <a:gd name="T73" fmla="*/ 2 h 546"/>
              <a:gd name="T74" fmla="*/ 1783 w 2176"/>
              <a:gd name="T75" fmla="*/ 220 h 546"/>
              <a:gd name="T76" fmla="*/ 1716 w 2176"/>
              <a:gd name="T77" fmla="*/ 171 h 546"/>
              <a:gd name="T78" fmla="*/ 1561 w 2176"/>
              <a:gd name="T79" fmla="*/ 220 h 546"/>
              <a:gd name="T80" fmla="*/ 1526 w 2176"/>
              <a:gd name="T81" fmla="*/ 443 h 546"/>
              <a:gd name="T82" fmla="*/ 1665 w 2176"/>
              <a:gd name="T83" fmla="*/ 546 h 546"/>
              <a:gd name="T84" fmla="*/ 1763 w 2176"/>
              <a:gd name="T85" fmla="*/ 507 h 546"/>
              <a:gd name="T86" fmla="*/ 1785 w 2176"/>
              <a:gd name="T87" fmla="*/ 537 h 546"/>
              <a:gd name="T88" fmla="*/ 1778 w 2176"/>
              <a:gd name="T89" fmla="*/ 413 h 546"/>
              <a:gd name="T90" fmla="*/ 1692 w 2176"/>
              <a:gd name="T91" fmla="*/ 479 h 546"/>
              <a:gd name="T92" fmla="*/ 1607 w 2176"/>
              <a:gd name="T93" fmla="*/ 414 h 546"/>
              <a:gd name="T94" fmla="*/ 1624 w 2176"/>
              <a:gd name="T95" fmla="*/ 269 h 546"/>
              <a:gd name="T96" fmla="*/ 1732 w 2176"/>
              <a:gd name="T97" fmla="*/ 241 h 546"/>
              <a:gd name="T98" fmla="*/ 1786 w 2176"/>
              <a:gd name="T99" fmla="*/ 326 h 5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2176" h="546">
                <a:moveTo>
                  <a:pt x="163" y="538"/>
                </a:moveTo>
                <a:cubicBezTo>
                  <a:pt x="116" y="538"/>
                  <a:pt x="116" y="538"/>
                  <a:pt x="116" y="538"/>
                </a:cubicBezTo>
                <a:cubicBezTo>
                  <a:pt x="336" y="2"/>
                  <a:pt x="336" y="2"/>
                  <a:pt x="336" y="2"/>
                </a:cubicBezTo>
                <a:cubicBezTo>
                  <a:pt x="384" y="2"/>
                  <a:pt x="384" y="2"/>
                  <a:pt x="384" y="2"/>
                </a:cubicBezTo>
                <a:lnTo>
                  <a:pt x="163" y="538"/>
                </a:lnTo>
                <a:close/>
                <a:moveTo>
                  <a:pt x="269" y="2"/>
                </a:moveTo>
                <a:cubicBezTo>
                  <a:pt x="221" y="2"/>
                  <a:pt x="221" y="2"/>
                  <a:pt x="221" y="2"/>
                </a:cubicBezTo>
                <a:cubicBezTo>
                  <a:pt x="0" y="538"/>
                  <a:pt x="0" y="538"/>
                  <a:pt x="0" y="538"/>
                </a:cubicBezTo>
                <a:cubicBezTo>
                  <a:pt x="48" y="538"/>
                  <a:pt x="48" y="538"/>
                  <a:pt x="48" y="538"/>
                </a:cubicBezTo>
                <a:lnTo>
                  <a:pt x="269" y="2"/>
                </a:lnTo>
                <a:close/>
                <a:moveTo>
                  <a:pt x="2176" y="2"/>
                </a:moveTo>
                <a:cubicBezTo>
                  <a:pt x="2128" y="2"/>
                  <a:pt x="2128" y="2"/>
                  <a:pt x="2128" y="2"/>
                </a:cubicBezTo>
                <a:cubicBezTo>
                  <a:pt x="1908" y="538"/>
                  <a:pt x="1908" y="538"/>
                  <a:pt x="1908" y="538"/>
                </a:cubicBezTo>
                <a:cubicBezTo>
                  <a:pt x="1955" y="538"/>
                  <a:pt x="1955" y="538"/>
                  <a:pt x="1955" y="538"/>
                </a:cubicBezTo>
                <a:lnTo>
                  <a:pt x="2176" y="2"/>
                </a:lnTo>
                <a:close/>
                <a:moveTo>
                  <a:pt x="1131" y="536"/>
                </a:moveTo>
                <a:cubicBezTo>
                  <a:pt x="1131" y="175"/>
                  <a:pt x="1131" y="175"/>
                  <a:pt x="1131" y="175"/>
                </a:cubicBezTo>
                <a:cubicBezTo>
                  <a:pt x="1049" y="175"/>
                  <a:pt x="1049" y="175"/>
                  <a:pt x="1049" y="175"/>
                </a:cubicBezTo>
                <a:cubicBezTo>
                  <a:pt x="1049" y="384"/>
                  <a:pt x="1049" y="384"/>
                  <a:pt x="1049" y="384"/>
                </a:cubicBezTo>
                <a:cubicBezTo>
                  <a:pt x="1049" y="399"/>
                  <a:pt x="1047" y="412"/>
                  <a:pt x="1042" y="424"/>
                </a:cubicBezTo>
                <a:cubicBezTo>
                  <a:pt x="1038" y="436"/>
                  <a:pt x="1032" y="446"/>
                  <a:pt x="1025" y="454"/>
                </a:cubicBezTo>
                <a:cubicBezTo>
                  <a:pt x="1017" y="462"/>
                  <a:pt x="1009" y="468"/>
                  <a:pt x="999" y="472"/>
                </a:cubicBezTo>
                <a:cubicBezTo>
                  <a:pt x="989" y="476"/>
                  <a:pt x="978" y="478"/>
                  <a:pt x="967" y="478"/>
                </a:cubicBezTo>
                <a:cubicBezTo>
                  <a:pt x="956" y="478"/>
                  <a:pt x="946" y="476"/>
                  <a:pt x="937" y="473"/>
                </a:cubicBezTo>
                <a:cubicBezTo>
                  <a:pt x="927" y="470"/>
                  <a:pt x="920" y="464"/>
                  <a:pt x="913" y="457"/>
                </a:cubicBezTo>
                <a:cubicBezTo>
                  <a:pt x="906" y="449"/>
                  <a:pt x="901" y="440"/>
                  <a:pt x="897" y="428"/>
                </a:cubicBezTo>
                <a:cubicBezTo>
                  <a:pt x="894" y="416"/>
                  <a:pt x="892" y="401"/>
                  <a:pt x="892" y="384"/>
                </a:cubicBezTo>
                <a:cubicBezTo>
                  <a:pt x="892" y="175"/>
                  <a:pt x="892" y="175"/>
                  <a:pt x="892" y="175"/>
                </a:cubicBezTo>
                <a:cubicBezTo>
                  <a:pt x="809" y="175"/>
                  <a:pt x="809" y="175"/>
                  <a:pt x="809" y="175"/>
                </a:cubicBezTo>
                <a:cubicBezTo>
                  <a:pt x="809" y="394"/>
                  <a:pt x="809" y="394"/>
                  <a:pt x="809" y="394"/>
                </a:cubicBezTo>
                <a:cubicBezTo>
                  <a:pt x="809" y="444"/>
                  <a:pt x="821" y="482"/>
                  <a:pt x="843" y="507"/>
                </a:cubicBezTo>
                <a:cubicBezTo>
                  <a:pt x="865" y="532"/>
                  <a:pt x="897" y="545"/>
                  <a:pt x="939" y="545"/>
                </a:cubicBezTo>
                <a:cubicBezTo>
                  <a:pt x="951" y="545"/>
                  <a:pt x="963" y="543"/>
                  <a:pt x="975" y="540"/>
                </a:cubicBezTo>
                <a:cubicBezTo>
                  <a:pt x="986" y="537"/>
                  <a:pt x="996" y="532"/>
                  <a:pt x="1005" y="526"/>
                </a:cubicBezTo>
                <a:cubicBezTo>
                  <a:pt x="1014" y="521"/>
                  <a:pt x="1022" y="514"/>
                  <a:pt x="1029" y="506"/>
                </a:cubicBezTo>
                <a:cubicBezTo>
                  <a:pt x="1037" y="499"/>
                  <a:pt x="1043" y="490"/>
                  <a:pt x="1048" y="482"/>
                </a:cubicBezTo>
                <a:cubicBezTo>
                  <a:pt x="1049" y="482"/>
                  <a:pt x="1049" y="482"/>
                  <a:pt x="1049" y="482"/>
                </a:cubicBezTo>
                <a:cubicBezTo>
                  <a:pt x="1049" y="536"/>
                  <a:pt x="1049" y="536"/>
                  <a:pt x="1049" y="536"/>
                </a:cubicBezTo>
                <a:lnTo>
                  <a:pt x="1131" y="536"/>
                </a:lnTo>
                <a:close/>
                <a:moveTo>
                  <a:pt x="1307" y="48"/>
                </a:moveTo>
                <a:cubicBezTo>
                  <a:pt x="1307" y="41"/>
                  <a:pt x="1306" y="35"/>
                  <a:pt x="1303" y="29"/>
                </a:cubicBezTo>
                <a:cubicBezTo>
                  <a:pt x="1301" y="23"/>
                  <a:pt x="1297" y="18"/>
                  <a:pt x="1293" y="14"/>
                </a:cubicBezTo>
                <a:cubicBezTo>
                  <a:pt x="1288" y="9"/>
                  <a:pt x="1283" y="6"/>
                  <a:pt x="1277" y="3"/>
                </a:cubicBezTo>
                <a:cubicBezTo>
                  <a:pt x="1271" y="1"/>
                  <a:pt x="1264" y="0"/>
                  <a:pt x="1257" y="0"/>
                </a:cubicBezTo>
                <a:cubicBezTo>
                  <a:pt x="1250" y="0"/>
                  <a:pt x="1244" y="1"/>
                  <a:pt x="1238" y="3"/>
                </a:cubicBezTo>
                <a:cubicBezTo>
                  <a:pt x="1232" y="6"/>
                  <a:pt x="1226" y="9"/>
                  <a:pt x="1222" y="13"/>
                </a:cubicBezTo>
                <a:cubicBezTo>
                  <a:pt x="1217" y="18"/>
                  <a:pt x="1214" y="23"/>
                  <a:pt x="1211" y="29"/>
                </a:cubicBezTo>
                <a:cubicBezTo>
                  <a:pt x="1209" y="34"/>
                  <a:pt x="1207" y="41"/>
                  <a:pt x="1207" y="48"/>
                </a:cubicBezTo>
                <a:cubicBezTo>
                  <a:pt x="1207" y="54"/>
                  <a:pt x="1209" y="60"/>
                  <a:pt x="1211" y="66"/>
                </a:cubicBezTo>
                <a:cubicBezTo>
                  <a:pt x="1214" y="72"/>
                  <a:pt x="1217" y="77"/>
                  <a:pt x="1221" y="81"/>
                </a:cubicBezTo>
                <a:cubicBezTo>
                  <a:pt x="1226" y="85"/>
                  <a:pt x="1231" y="88"/>
                  <a:pt x="1237" y="91"/>
                </a:cubicBezTo>
                <a:cubicBezTo>
                  <a:pt x="1243" y="93"/>
                  <a:pt x="1250" y="95"/>
                  <a:pt x="1257" y="95"/>
                </a:cubicBezTo>
                <a:cubicBezTo>
                  <a:pt x="1264" y="95"/>
                  <a:pt x="1271" y="93"/>
                  <a:pt x="1277" y="91"/>
                </a:cubicBezTo>
                <a:cubicBezTo>
                  <a:pt x="1283" y="88"/>
                  <a:pt x="1289" y="85"/>
                  <a:pt x="1293" y="81"/>
                </a:cubicBezTo>
                <a:cubicBezTo>
                  <a:pt x="1297" y="77"/>
                  <a:pt x="1301" y="72"/>
                  <a:pt x="1303" y="66"/>
                </a:cubicBezTo>
                <a:cubicBezTo>
                  <a:pt x="1306" y="60"/>
                  <a:pt x="1307" y="54"/>
                  <a:pt x="1307" y="48"/>
                </a:cubicBezTo>
                <a:moveTo>
                  <a:pt x="1216" y="536"/>
                </a:moveTo>
                <a:cubicBezTo>
                  <a:pt x="1297" y="536"/>
                  <a:pt x="1297" y="536"/>
                  <a:pt x="1297" y="536"/>
                </a:cubicBezTo>
                <a:cubicBezTo>
                  <a:pt x="1297" y="175"/>
                  <a:pt x="1297" y="175"/>
                  <a:pt x="1297" y="175"/>
                </a:cubicBezTo>
                <a:cubicBezTo>
                  <a:pt x="1216" y="175"/>
                  <a:pt x="1216" y="175"/>
                  <a:pt x="1216" y="175"/>
                </a:cubicBezTo>
                <a:lnTo>
                  <a:pt x="1216" y="536"/>
                </a:lnTo>
                <a:close/>
                <a:moveTo>
                  <a:pt x="1376" y="536"/>
                </a:moveTo>
                <a:cubicBezTo>
                  <a:pt x="1457" y="536"/>
                  <a:pt x="1457" y="536"/>
                  <a:pt x="1457" y="536"/>
                </a:cubicBezTo>
                <a:cubicBezTo>
                  <a:pt x="1457" y="2"/>
                  <a:pt x="1457" y="2"/>
                  <a:pt x="1457" y="2"/>
                </a:cubicBezTo>
                <a:cubicBezTo>
                  <a:pt x="1376" y="2"/>
                  <a:pt x="1376" y="2"/>
                  <a:pt x="1376" y="2"/>
                </a:cubicBezTo>
                <a:lnTo>
                  <a:pt x="1376" y="536"/>
                </a:lnTo>
                <a:close/>
                <a:moveTo>
                  <a:pt x="765" y="342"/>
                </a:moveTo>
                <a:cubicBezTo>
                  <a:pt x="765" y="317"/>
                  <a:pt x="762" y="294"/>
                  <a:pt x="756" y="272"/>
                </a:cubicBezTo>
                <a:cubicBezTo>
                  <a:pt x="750" y="249"/>
                  <a:pt x="741" y="230"/>
                  <a:pt x="729" y="213"/>
                </a:cubicBezTo>
                <a:cubicBezTo>
                  <a:pt x="717" y="196"/>
                  <a:pt x="701" y="183"/>
                  <a:pt x="682" y="173"/>
                </a:cubicBezTo>
                <a:cubicBezTo>
                  <a:pt x="663" y="163"/>
                  <a:pt x="640" y="158"/>
                  <a:pt x="613" y="158"/>
                </a:cubicBezTo>
                <a:cubicBezTo>
                  <a:pt x="599" y="158"/>
                  <a:pt x="585" y="160"/>
                  <a:pt x="573" y="163"/>
                </a:cubicBezTo>
                <a:cubicBezTo>
                  <a:pt x="561" y="166"/>
                  <a:pt x="549" y="171"/>
                  <a:pt x="539" y="177"/>
                </a:cubicBezTo>
                <a:cubicBezTo>
                  <a:pt x="529" y="183"/>
                  <a:pt x="520" y="190"/>
                  <a:pt x="512" y="199"/>
                </a:cubicBezTo>
                <a:cubicBezTo>
                  <a:pt x="504" y="207"/>
                  <a:pt x="497" y="216"/>
                  <a:pt x="491" y="226"/>
                </a:cubicBezTo>
                <a:cubicBezTo>
                  <a:pt x="489" y="226"/>
                  <a:pt x="489" y="226"/>
                  <a:pt x="489" y="226"/>
                </a:cubicBezTo>
                <a:cubicBezTo>
                  <a:pt x="489" y="2"/>
                  <a:pt x="489" y="2"/>
                  <a:pt x="489" y="2"/>
                </a:cubicBezTo>
                <a:cubicBezTo>
                  <a:pt x="460" y="2"/>
                  <a:pt x="460" y="2"/>
                  <a:pt x="460" y="2"/>
                </a:cubicBezTo>
                <a:cubicBezTo>
                  <a:pt x="406" y="133"/>
                  <a:pt x="406" y="133"/>
                  <a:pt x="406" y="133"/>
                </a:cubicBezTo>
                <a:cubicBezTo>
                  <a:pt x="406" y="537"/>
                  <a:pt x="406" y="537"/>
                  <a:pt x="406" y="537"/>
                </a:cubicBezTo>
                <a:cubicBezTo>
                  <a:pt x="489" y="537"/>
                  <a:pt x="489" y="537"/>
                  <a:pt x="489" y="537"/>
                </a:cubicBezTo>
                <a:cubicBezTo>
                  <a:pt x="489" y="490"/>
                  <a:pt x="489" y="490"/>
                  <a:pt x="489" y="490"/>
                </a:cubicBezTo>
                <a:cubicBezTo>
                  <a:pt x="491" y="490"/>
                  <a:pt x="491" y="490"/>
                  <a:pt x="491" y="490"/>
                </a:cubicBezTo>
                <a:cubicBezTo>
                  <a:pt x="496" y="498"/>
                  <a:pt x="502" y="505"/>
                  <a:pt x="509" y="512"/>
                </a:cubicBezTo>
                <a:cubicBezTo>
                  <a:pt x="515" y="519"/>
                  <a:pt x="523" y="525"/>
                  <a:pt x="532" y="530"/>
                </a:cubicBezTo>
                <a:cubicBezTo>
                  <a:pt x="540" y="535"/>
                  <a:pt x="550" y="539"/>
                  <a:pt x="561" y="542"/>
                </a:cubicBezTo>
                <a:cubicBezTo>
                  <a:pt x="571" y="544"/>
                  <a:pt x="583" y="546"/>
                  <a:pt x="596" y="546"/>
                </a:cubicBezTo>
                <a:cubicBezTo>
                  <a:pt x="623" y="546"/>
                  <a:pt x="647" y="541"/>
                  <a:pt x="668" y="530"/>
                </a:cubicBezTo>
                <a:cubicBezTo>
                  <a:pt x="689" y="520"/>
                  <a:pt x="707" y="506"/>
                  <a:pt x="721" y="488"/>
                </a:cubicBezTo>
                <a:cubicBezTo>
                  <a:pt x="736" y="470"/>
                  <a:pt x="747" y="448"/>
                  <a:pt x="754" y="423"/>
                </a:cubicBezTo>
                <a:cubicBezTo>
                  <a:pt x="761" y="398"/>
                  <a:pt x="765" y="371"/>
                  <a:pt x="765" y="342"/>
                </a:cubicBezTo>
                <a:moveTo>
                  <a:pt x="678" y="341"/>
                </a:moveTo>
                <a:cubicBezTo>
                  <a:pt x="678" y="363"/>
                  <a:pt x="676" y="383"/>
                  <a:pt x="671" y="400"/>
                </a:cubicBezTo>
                <a:cubicBezTo>
                  <a:pt x="667" y="418"/>
                  <a:pt x="660" y="432"/>
                  <a:pt x="651" y="443"/>
                </a:cubicBezTo>
                <a:cubicBezTo>
                  <a:pt x="643" y="455"/>
                  <a:pt x="632" y="463"/>
                  <a:pt x="620" y="469"/>
                </a:cubicBezTo>
                <a:cubicBezTo>
                  <a:pt x="607" y="475"/>
                  <a:pt x="593" y="478"/>
                  <a:pt x="578" y="478"/>
                </a:cubicBezTo>
                <a:cubicBezTo>
                  <a:pt x="565" y="478"/>
                  <a:pt x="553" y="475"/>
                  <a:pt x="542" y="470"/>
                </a:cubicBezTo>
                <a:cubicBezTo>
                  <a:pt x="531" y="466"/>
                  <a:pt x="522" y="459"/>
                  <a:pt x="514" y="450"/>
                </a:cubicBezTo>
                <a:cubicBezTo>
                  <a:pt x="506" y="442"/>
                  <a:pt x="500" y="432"/>
                  <a:pt x="495" y="421"/>
                </a:cubicBezTo>
                <a:cubicBezTo>
                  <a:pt x="491" y="410"/>
                  <a:pt x="488" y="397"/>
                  <a:pt x="488" y="384"/>
                </a:cubicBezTo>
                <a:cubicBezTo>
                  <a:pt x="488" y="336"/>
                  <a:pt x="488" y="336"/>
                  <a:pt x="488" y="336"/>
                </a:cubicBezTo>
                <a:cubicBezTo>
                  <a:pt x="488" y="319"/>
                  <a:pt x="491" y="304"/>
                  <a:pt x="496" y="291"/>
                </a:cubicBezTo>
                <a:cubicBezTo>
                  <a:pt x="500" y="278"/>
                  <a:pt x="507" y="266"/>
                  <a:pt x="516" y="257"/>
                </a:cubicBezTo>
                <a:cubicBezTo>
                  <a:pt x="524" y="247"/>
                  <a:pt x="534" y="240"/>
                  <a:pt x="546" y="234"/>
                </a:cubicBezTo>
                <a:cubicBezTo>
                  <a:pt x="558" y="229"/>
                  <a:pt x="571" y="226"/>
                  <a:pt x="586" y="226"/>
                </a:cubicBezTo>
                <a:cubicBezTo>
                  <a:pt x="601" y="226"/>
                  <a:pt x="614" y="229"/>
                  <a:pt x="625" y="234"/>
                </a:cubicBezTo>
                <a:cubicBezTo>
                  <a:pt x="636" y="240"/>
                  <a:pt x="646" y="247"/>
                  <a:pt x="654" y="257"/>
                </a:cubicBezTo>
                <a:cubicBezTo>
                  <a:pt x="662" y="267"/>
                  <a:pt x="668" y="279"/>
                  <a:pt x="672" y="293"/>
                </a:cubicBezTo>
                <a:cubicBezTo>
                  <a:pt x="676" y="307"/>
                  <a:pt x="678" y="323"/>
                  <a:pt x="678" y="341"/>
                </a:cubicBezTo>
                <a:moveTo>
                  <a:pt x="1866" y="537"/>
                </a:moveTo>
                <a:cubicBezTo>
                  <a:pt x="1866" y="2"/>
                  <a:pt x="1866" y="2"/>
                  <a:pt x="1866" y="2"/>
                </a:cubicBezTo>
                <a:cubicBezTo>
                  <a:pt x="1785" y="2"/>
                  <a:pt x="1785" y="2"/>
                  <a:pt x="1785" y="2"/>
                </a:cubicBezTo>
                <a:cubicBezTo>
                  <a:pt x="1785" y="220"/>
                  <a:pt x="1785" y="220"/>
                  <a:pt x="1785" y="220"/>
                </a:cubicBezTo>
                <a:cubicBezTo>
                  <a:pt x="1783" y="220"/>
                  <a:pt x="1783" y="220"/>
                  <a:pt x="1783" y="220"/>
                </a:cubicBezTo>
                <a:cubicBezTo>
                  <a:pt x="1779" y="213"/>
                  <a:pt x="1773" y="206"/>
                  <a:pt x="1767" y="199"/>
                </a:cubicBezTo>
                <a:cubicBezTo>
                  <a:pt x="1760" y="192"/>
                  <a:pt x="1753" y="187"/>
                  <a:pt x="1744" y="182"/>
                </a:cubicBezTo>
                <a:cubicBezTo>
                  <a:pt x="1736" y="177"/>
                  <a:pt x="1726" y="173"/>
                  <a:pt x="1716" y="171"/>
                </a:cubicBezTo>
                <a:cubicBezTo>
                  <a:pt x="1705" y="168"/>
                  <a:pt x="1693" y="167"/>
                  <a:pt x="1681" y="167"/>
                </a:cubicBezTo>
                <a:cubicBezTo>
                  <a:pt x="1656" y="167"/>
                  <a:pt x="1633" y="171"/>
                  <a:pt x="1613" y="181"/>
                </a:cubicBezTo>
                <a:cubicBezTo>
                  <a:pt x="1592" y="190"/>
                  <a:pt x="1575" y="203"/>
                  <a:pt x="1561" y="220"/>
                </a:cubicBezTo>
                <a:cubicBezTo>
                  <a:pt x="1546" y="238"/>
                  <a:pt x="1535" y="259"/>
                  <a:pt x="1527" y="283"/>
                </a:cubicBezTo>
                <a:cubicBezTo>
                  <a:pt x="1519" y="308"/>
                  <a:pt x="1515" y="335"/>
                  <a:pt x="1515" y="365"/>
                </a:cubicBezTo>
                <a:cubicBezTo>
                  <a:pt x="1515" y="394"/>
                  <a:pt x="1519" y="420"/>
                  <a:pt x="1526" y="443"/>
                </a:cubicBezTo>
                <a:cubicBezTo>
                  <a:pt x="1534" y="465"/>
                  <a:pt x="1544" y="484"/>
                  <a:pt x="1558" y="500"/>
                </a:cubicBezTo>
                <a:cubicBezTo>
                  <a:pt x="1571" y="515"/>
                  <a:pt x="1587" y="526"/>
                  <a:pt x="1605" y="534"/>
                </a:cubicBezTo>
                <a:cubicBezTo>
                  <a:pt x="1624" y="542"/>
                  <a:pt x="1643" y="546"/>
                  <a:pt x="1665" y="546"/>
                </a:cubicBezTo>
                <a:cubicBezTo>
                  <a:pt x="1679" y="546"/>
                  <a:pt x="1693" y="544"/>
                  <a:pt x="1705" y="541"/>
                </a:cubicBezTo>
                <a:cubicBezTo>
                  <a:pt x="1717" y="538"/>
                  <a:pt x="1728" y="533"/>
                  <a:pt x="1737" y="528"/>
                </a:cubicBezTo>
                <a:cubicBezTo>
                  <a:pt x="1747" y="522"/>
                  <a:pt x="1756" y="515"/>
                  <a:pt x="1763" y="507"/>
                </a:cubicBezTo>
                <a:cubicBezTo>
                  <a:pt x="1771" y="499"/>
                  <a:pt x="1778" y="490"/>
                  <a:pt x="1783" y="480"/>
                </a:cubicBezTo>
                <a:cubicBezTo>
                  <a:pt x="1785" y="480"/>
                  <a:pt x="1785" y="480"/>
                  <a:pt x="1785" y="480"/>
                </a:cubicBezTo>
                <a:cubicBezTo>
                  <a:pt x="1785" y="537"/>
                  <a:pt x="1785" y="537"/>
                  <a:pt x="1785" y="537"/>
                </a:cubicBezTo>
                <a:lnTo>
                  <a:pt x="1866" y="537"/>
                </a:lnTo>
                <a:close/>
                <a:moveTo>
                  <a:pt x="1786" y="366"/>
                </a:moveTo>
                <a:cubicBezTo>
                  <a:pt x="1786" y="384"/>
                  <a:pt x="1783" y="399"/>
                  <a:pt x="1778" y="413"/>
                </a:cubicBezTo>
                <a:cubicBezTo>
                  <a:pt x="1773" y="427"/>
                  <a:pt x="1767" y="439"/>
                  <a:pt x="1758" y="449"/>
                </a:cubicBezTo>
                <a:cubicBezTo>
                  <a:pt x="1750" y="458"/>
                  <a:pt x="1740" y="466"/>
                  <a:pt x="1728" y="471"/>
                </a:cubicBezTo>
                <a:cubicBezTo>
                  <a:pt x="1717" y="476"/>
                  <a:pt x="1705" y="479"/>
                  <a:pt x="1692" y="479"/>
                </a:cubicBezTo>
                <a:cubicBezTo>
                  <a:pt x="1679" y="479"/>
                  <a:pt x="1667" y="477"/>
                  <a:pt x="1656" y="472"/>
                </a:cubicBezTo>
                <a:cubicBezTo>
                  <a:pt x="1644" y="467"/>
                  <a:pt x="1635" y="460"/>
                  <a:pt x="1626" y="450"/>
                </a:cubicBezTo>
                <a:cubicBezTo>
                  <a:pt x="1618" y="440"/>
                  <a:pt x="1612" y="428"/>
                  <a:pt x="1607" y="414"/>
                </a:cubicBezTo>
                <a:cubicBezTo>
                  <a:pt x="1602" y="399"/>
                  <a:pt x="1600" y="382"/>
                  <a:pt x="1600" y="363"/>
                </a:cubicBezTo>
                <a:cubicBezTo>
                  <a:pt x="1600" y="343"/>
                  <a:pt x="1602" y="325"/>
                  <a:pt x="1606" y="309"/>
                </a:cubicBezTo>
                <a:cubicBezTo>
                  <a:pt x="1610" y="294"/>
                  <a:pt x="1616" y="280"/>
                  <a:pt x="1624" y="269"/>
                </a:cubicBezTo>
                <a:cubicBezTo>
                  <a:pt x="1632" y="257"/>
                  <a:pt x="1642" y="249"/>
                  <a:pt x="1654" y="242"/>
                </a:cubicBezTo>
                <a:cubicBezTo>
                  <a:pt x="1667" y="236"/>
                  <a:pt x="1681" y="233"/>
                  <a:pt x="1697" y="233"/>
                </a:cubicBezTo>
                <a:cubicBezTo>
                  <a:pt x="1709" y="233"/>
                  <a:pt x="1721" y="236"/>
                  <a:pt x="1732" y="241"/>
                </a:cubicBezTo>
                <a:cubicBezTo>
                  <a:pt x="1743" y="245"/>
                  <a:pt x="1752" y="252"/>
                  <a:pt x="1760" y="260"/>
                </a:cubicBezTo>
                <a:cubicBezTo>
                  <a:pt x="1768" y="269"/>
                  <a:pt x="1774" y="279"/>
                  <a:pt x="1779" y="290"/>
                </a:cubicBezTo>
                <a:cubicBezTo>
                  <a:pt x="1783" y="301"/>
                  <a:pt x="1786" y="313"/>
                  <a:pt x="1786" y="326"/>
                </a:cubicBezTo>
                <a:lnTo>
                  <a:pt x="1786" y="366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27" tIns="45713" rIns="91427" bIns="45713" numCol="1" anchor="t" anchorCtr="0" compatLnSpc="1">
            <a:prstTxWarp prst="textNoShape">
              <a:avLst/>
            </a:prstTxWarp>
          </a:bodyPr>
          <a:lstStyle/>
          <a:p>
            <a:endParaRPr lang="en-US" sz="1800">
              <a:solidFill>
                <a:srgbClr val="404040"/>
              </a:solidFill>
            </a:endParaRPr>
          </a:p>
        </p:txBody>
      </p:sp>
      <p:sp>
        <p:nvSpPr>
          <p:cNvPr id="9" name="TextBox 8"/>
          <p:cNvSpPr txBox="1"/>
          <p:nvPr userDrawn="1"/>
        </p:nvSpPr>
        <p:spPr>
          <a:xfrm>
            <a:off x="288989" y="6072576"/>
            <a:ext cx="1930897" cy="634440"/>
          </a:xfrm>
          <a:prstGeom prst="rect">
            <a:avLst/>
          </a:prstGeom>
          <a:noFill/>
        </p:spPr>
        <p:txBody>
          <a:bodyPr wrap="none" lIns="182854" tIns="146283" rIns="182854" bIns="146283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#Build2016</a:t>
            </a:r>
          </a:p>
        </p:txBody>
      </p:sp>
    </p:spTree>
    <p:extLst>
      <p:ext uri="{BB962C8B-B14F-4D97-AF65-F5344CB8AC3E}">
        <p14:creationId xmlns:p14="http://schemas.microsoft.com/office/powerpoint/2010/main" val="187968170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2-color Non-bulleted tex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74639" y="1212851"/>
            <a:ext cx="11887200" cy="2025170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2000"/>
            </a:lvl2pPr>
            <a:lvl3pPr marL="228557" indent="0">
              <a:buNone/>
              <a:defRPr/>
            </a:lvl3pPr>
            <a:lvl4pPr marL="457112" indent="0">
              <a:buNone/>
              <a:defRPr/>
            </a:lvl4pPr>
            <a:lvl5pPr marL="685669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6374135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74639" y="1212851"/>
            <a:ext cx="11887200" cy="2025170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1"/>
                    </a:gs>
                    <a:gs pos="99000">
                      <a:schemeClr val="tx1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2000"/>
            </a:lvl2pPr>
            <a:lvl3pPr marL="228557" indent="0">
              <a:buNone/>
              <a:defRPr/>
            </a:lvl3pPr>
            <a:lvl4pPr marL="457112" indent="0">
              <a:buNone/>
              <a:defRPr/>
            </a:lvl4pPr>
            <a:lvl5pPr marL="685669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4739914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1st level color tex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2850"/>
            <a:ext cx="11887200" cy="2092881"/>
          </a:xfrm>
        </p:spPr>
        <p:txBody>
          <a:bodyPr>
            <a:spAutoFit/>
          </a:bodyPr>
          <a:lstStyle>
            <a:lvl1pPr>
              <a:defRPr sz="3999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2771375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2850"/>
            <a:ext cx="11887200" cy="2092881"/>
          </a:xfrm>
        </p:spPr>
        <p:txBody>
          <a:bodyPr>
            <a:spAutoFit/>
          </a:bodyPr>
          <a:lstStyle>
            <a:lvl1pPr>
              <a:defRPr sz="3999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2118983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2-color Non-bulleted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40" y="1212849"/>
            <a:ext cx="5486399" cy="1914370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itchFamily="2" charset="2"/>
              <a:buNone/>
              <a:defRPr sz="3199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2000"/>
            </a:lvl2pPr>
            <a:lvl3pPr marL="231730" indent="0">
              <a:buNone/>
              <a:tabLst/>
              <a:defRPr sz="2000"/>
            </a:lvl3pPr>
            <a:lvl4pPr marL="460287" indent="0">
              <a:buNone/>
              <a:defRPr/>
            </a:lvl4pPr>
            <a:lvl5pPr marL="685669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2849"/>
            <a:ext cx="5486399" cy="1914370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itchFamily="2" charset="2"/>
              <a:buNone/>
              <a:defRPr sz="3199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2000"/>
            </a:lvl2pPr>
            <a:lvl3pPr marL="231730" indent="0">
              <a:buNone/>
              <a:tabLst/>
              <a:defRPr sz="2000"/>
            </a:lvl3pPr>
            <a:lvl4pPr marL="460287" indent="0">
              <a:buNone/>
              <a:defRPr/>
            </a:lvl4pPr>
            <a:lvl5pPr marL="685669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985913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8" y="2125662"/>
            <a:ext cx="11887200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200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6893455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40" y="1212849"/>
            <a:ext cx="5486399" cy="1914370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itchFamily="2" charset="2"/>
              <a:buNone/>
              <a:defRPr sz="3199"/>
            </a:lvl1pPr>
            <a:lvl2pPr marL="0" indent="0">
              <a:buNone/>
              <a:defRPr sz="2000"/>
            </a:lvl2pPr>
            <a:lvl3pPr marL="231730" indent="0">
              <a:buNone/>
              <a:tabLst/>
              <a:defRPr sz="2000"/>
            </a:lvl3pPr>
            <a:lvl4pPr marL="460287" indent="0">
              <a:buNone/>
              <a:defRPr/>
            </a:lvl4pPr>
            <a:lvl5pPr marL="685669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2849"/>
            <a:ext cx="5486399" cy="1914370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itchFamily="2" charset="2"/>
              <a:buNone/>
              <a:defRPr sz="3199"/>
            </a:lvl1pPr>
            <a:lvl2pPr marL="0" indent="0">
              <a:buNone/>
              <a:defRPr sz="2000"/>
            </a:lvl2pPr>
            <a:lvl3pPr marL="231730" indent="0">
              <a:buNone/>
              <a:tabLst/>
              <a:defRPr sz="2000"/>
            </a:lvl3pPr>
            <a:lvl4pPr marL="460287" indent="0">
              <a:buNone/>
              <a:defRPr/>
            </a:lvl4pPr>
            <a:lvl5pPr marL="685669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5235299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 1st level color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40" y="1212849"/>
            <a:ext cx="5486399" cy="2425279"/>
          </a:xfrm>
        </p:spPr>
        <p:txBody>
          <a:bodyPr wrap="square">
            <a:spAutoFit/>
          </a:bodyPr>
          <a:lstStyle>
            <a:lvl1pPr marL="287282" indent="-287282">
              <a:spcBef>
                <a:spcPts val="1224"/>
              </a:spcBef>
              <a:buClr>
                <a:schemeClr val="tx2"/>
              </a:buClr>
              <a:buFont typeface="Arial" pitchFamily="34" charset="0"/>
              <a:buChar char="•"/>
              <a:defRPr sz="3199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31064" indent="-233150">
              <a:defRPr sz="2400"/>
            </a:lvl2pPr>
            <a:lvl3pPr marL="699450" indent="-168387">
              <a:tabLst/>
              <a:defRPr sz="2000"/>
            </a:lvl3pPr>
            <a:lvl4pPr marL="880789" indent="-181339">
              <a:defRPr/>
            </a:lvl4pPr>
            <a:lvl5pPr marL="1049175" indent="-168387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2849"/>
            <a:ext cx="5486399" cy="2425279"/>
          </a:xfrm>
        </p:spPr>
        <p:txBody>
          <a:bodyPr wrap="square">
            <a:spAutoFit/>
          </a:bodyPr>
          <a:lstStyle>
            <a:lvl1pPr marL="287282" indent="-287282">
              <a:spcBef>
                <a:spcPts val="1224"/>
              </a:spcBef>
              <a:buClr>
                <a:schemeClr val="tx2"/>
              </a:buClr>
              <a:buFont typeface="Arial" pitchFamily="34" charset="0"/>
              <a:buChar char="•"/>
              <a:defRPr sz="3199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31064" indent="-233150">
              <a:defRPr sz="2400"/>
            </a:lvl2pPr>
            <a:lvl3pPr marL="699450" indent="-168387">
              <a:tabLst/>
              <a:defRPr sz="2000"/>
            </a:lvl3pPr>
            <a:lvl4pPr marL="880789" indent="-181339">
              <a:defRPr/>
            </a:lvl4pPr>
            <a:lvl5pPr marL="1049175" indent="-168387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4173673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40" y="1212849"/>
            <a:ext cx="5486399" cy="2425279"/>
          </a:xfrm>
        </p:spPr>
        <p:txBody>
          <a:bodyPr wrap="square">
            <a:spAutoFit/>
          </a:bodyPr>
          <a:lstStyle>
            <a:lvl1pPr marL="287282" indent="-287282">
              <a:spcBef>
                <a:spcPts val="1224"/>
              </a:spcBef>
              <a:buClr>
                <a:schemeClr val="tx1"/>
              </a:buClr>
              <a:buFont typeface="Arial" pitchFamily="34" charset="0"/>
              <a:buChar char="•"/>
              <a:defRPr sz="3199"/>
            </a:lvl1pPr>
            <a:lvl2pPr marL="531064" indent="-233150">
              <a:defRPr sz="2400"/>
            </a:lvl2pPr>
            <a:lvl3pPr marL="699450" indent="-168387">
              <a:tabLst/>
              <a:defRPr sz="2000"/>
            </a:lvl3pPr>
            <a:lvl4pPr marL="880789" indent="-181339">
              <a:defRPr/>
            </a:lvl4pPr>
            <a:lvl5pPr marL="1049175" indent="-168387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2849"/>
            <a:ext cx="5486399" cy="2425279"/>
          </a:xfrm>
        </p:spPr>
        <p:txBody>
          <a:bodyPr wrap="square">
            <a:spAutoFit/>
          </a:bodyPr>
          <a:lstStyle>
            <a:lvl1pPr marL="287282" indent="-287282">
              <a:spcBef>
                <a:spcPts val="1224"/>
              </a:spcBef>
              <a:buClr>
                <a:schemeClr val="tx1"/>
              </a:buClr>
              <a:buFont typeface="Arial" pitchFamily="34" charset="0"/>
              <a:buChar char="•"/>
              <a:defRPr sz="3199"/>
            </a:lvl1pPr>
            <a:lvl2pPr marL="531064" indent="-233150">
              <a:defRPr sz="2400"/>
            </a:lvl2pPr>
            <a:lvl3pPr marL="699450" indent="-168387">
              <a:tabLst/>
              <a:defRPr sz="2000"/>
            </a:lvl3pPr>
            <a:lvl4pPr marL="880789" indent="-181339">
              <a:defRPr/>
            </a:lvl4pPr>
            <a:lvl5pPr marL="1049175" indent="-168387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4004125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6960222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1101436" y="2963863"/>
            <a:ext cx="10235966" cy="917575"/>
          </a:xfrm>
        </p:spPr>
        <p:txBody>
          <a:bodyPr anchor="ctr" anchorCtr="0"/>
          <a:lstStyle>
            <a:lvl1pPr algn="l"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000079"/>
      </p:ext>
    </p:extLst>
  </p:cSld>
  <p:clrMapOvr>
    <a:masterClrMapping/>
  </p:clrMapOvr>
  <p:transition>
    <p:fade/>
  </p:transition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8" y="1209974"/>
            <a:ext cx="9144000" cy="1181862"/>
          </a:xfrm>
          <a:noFill/>
        </p:spPr>
        <p:txBody>
          <a:bodyPr wrap="square" tIns="91440" bIns="91440" anchor="t" anchorCtr="0">
            <a:spAutoFit/>
          </a:bodyPr>
          <a:lstStyle>
            <a:lvl1pPr>
              <a:defRPr sz="7198" spc="-100" baseline="0">
                <a:gradFill>
                  <a:gsLst>
                    <a:gs pos="24779">
                      <a:srgbClr val="000000"/>
                    </a:gs>
                    <a:gs pos="70000">
                      <a:srgbClr val="000000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639" y="3954463"/>
            <a:ext cx="9143999" cy="738664"/>
          </a:xfrm>
          <a:noFill/>
        </p:spPr>
        <p:txBody>
          <a:bodyPr wrap="square"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3199" spc="0" baseline="0">
                <a:gradFill>
                  <a:gsLst>
                    <a:gs pos="24779">
                      <a:srgbClr val="000000"/>
                    </a:gs>
                    <a:gs pos="70000">
                      <a:srgbClr val="000000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399893565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1209974"/>
            <a:ext cx="9143999" cy="1181862"/>
          </a:xfrm>
          <a:noFill/>
        </p:spPr>
        <p:txBody>
          <a:bodyPr wrap="square" tIns="91440" bIns="91440" anchor="t" anchorCtr="0">
            <a:spAutoFit/>
          </a:bodyPr>
          <a:lstStyle>
            <a:lvl1pPr>
              <a:defRPr sz="7198" spc="-10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Video title</a:t>
            </a:r>
          </a:p>
        </p:txBody>
      </p:sp>
    </p:spTree>
    <p:extLst>
      <p:ext uri="{BB962C8B-B14F-4D97-AF65-F5344CB8AC3E}">
        <p14:creationId xmlns:p14="http://schemas.microsoft.com/office/powerpoint/2010/main" val="287011013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2125663"/>
            <a:ext cx="11887200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198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62212927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3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2125663"/>
            <a:ext cx="11887200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198" spc="-100" baseline="0">
                <a:gradFill>
                  <a:gsLst>
                    <a:gs pos="92035">
                      <a:srgbClr val="000000"/>
                    </a:gs>
                    <a:gs pos="75000">
                      <a:srgbClr val="000000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76609641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0-50 Right Photo Layou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40" y="1241426"/>
            <a:ext cx="5486399" cy="2012859"/>
          </a:xfrm>
        </p:spPr>
        <p:txBody>
          <a:bodyPr>
            <a:spAutoFit/>
          </a:bodyPr>
          <a:lstStyle>
            <a:lvl1pPr>
              <a:defRPr sz="6599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50/50 photo layout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 bwMode="ltGray">
          <a:xfrm>
            <a:off x="6219825" y="0"/>
            <a:ext cx="6216650" cy="6992587"/>
          </a:xfrm>
          <a:blipFill dpi="0" rotWithShape="1">
            <a:blip r:embed="rId2"/>
            <a:srcRect/>
            <a:stretch>
              <a:fillRect/>
            </a:stretch>
          </a:blipFill>
        </p:spPr>
        <p:txBody>
          <a:bodyPr tIns="548640" anchor="ctr" anchorCtr="0">
            <a:noAutofit/>
          </a:bodyPr>
          <a:lstStyle>
            <a:lvl1pPr marL="0" indent="0" algn="ctr">
              <a:buNone/>
              <a:defRPr sz="1599" b="1" cap="none" baseline="0">
                <a:gradFill>
                  <a:gsLst>
                    <a:gs pos="0">
                      <a:srgbClr val="FFFFFF"/>
                    </a:gs>
                    <a:gs pos="27000">
                      <a:srgbClr val="FFFFFF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1828609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8" y="2125662"/>
            <a:ext cx="11887200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200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90869850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9356331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8633580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Slide for developer code</a:t>
            </a:r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1" y="1212849"/>
            <a:ext cx="12436475" cy="5781676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32" tIns="46632" rIns="46632" bIns="4663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spcBef>
                <a:spcPct val="0"/>
              </a:spcBef>
              <a:spcAft>
                <a:spcPct val="0"/>
              </a:spcAft>
            </a:pPr>
            <a:endParaRPr lang="en-US" sz="18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74638" y="1221158"/>
            <a:ext cx="11887199" cy="1995931"/>
          </a:xfrm>
        </p:spPr>
        <p:txBody>
          <a:bodyPr/>
          <a:lstStyle>
            <a:lvl1pPr marL="0" indent="0">
              <a:buNone/>
              <a:defRPr sz="3299"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487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494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406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795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0394469"/>
      </p:ext>
    </p:extLst>
  </p:cSld>
  <p:clrMapOvr>
    <a:masterClrMapping/>
  </p:clrMapOvr>
  <p:transition>
    <p:fade/>
  </p:transition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_color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74638" y="6294477"/>
            <a:ext cx="11887199" cy="40318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82854" tIns="146283" rIns="182854" bIns="146283" numCol="1" anchor="t" anchorCtr="0" compatLnSpc="1">
            <a:prstTxWarp prst="textNoShape">
              <a:avLst/>
            </a:prstTxWarp>
            <a:spAutoFit/>
          </a:bodyPr>
          <a:lstStyle/>
          <a:p>
            <a:pPr defTabSz="932111" eaLnBrk="0" hangingPunct="0"/>
            <a:r>
              <a:rPr lang="en-US" sz="700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2016 Microsoft Corporation. All rights reserved. 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464013" y="479425"/>
            <a:ext cx="1436313" cy="3066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41386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74639" y="1212851"/>
            <a:ext cx="11887200" cy="2443746"/>
          </a:xfrm>
          <a:prstGeom prst="rect">
            <a:avLst/>
          </a:prstGeom>
        </p:spPr>
        <p:txBody>
          <a:bodyPr/>
          <a:lstStyle>
            <a:lvl1pPr marL="290457" indent="-290457">
              <a:buClr>
                <a:schemeClr val="tx1"/>
              </a:buClr>
              <a:buSzPct val="90000"/>
              <a:buFont typeface="Arial" pitchFamily="34" charset="0"/>
              <a:buChar char="•"/>
              <a:defRPr sz="359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71390" indent="-280935">
              <a:buClr>
                <a:schemeClr val="tx1"/>
              </a:buClr>
              <a:buSzPct val="90000"/>
              <a:buFont typeface="Arial" pitchFamily="34" charset="0"/>
              <a:buChar char="•"/>
              <a:defRPr sz="319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61847" indent="-290457">
              <a:buClr>
                <a:schemeClr val="tx1"/>
              </a:buClr>
              <a:buSzPct val="90000"/>
              <a:buFont typeface="Arial" pitchFamily="34" charset="0"/>
              <a:buChar char="•"/>
              <a:defRPr sz="28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90404" indent="-228557">
              <a:buClr>
                <a:schemeClr val="tx1"/>
              </a:buClr>
              <a:buSzPct val="90000"/>
              <a:buFont typeface="Arial" pitchFamily="34" charset="0"/>
              <a:buChar char="•"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318960" indent="-228557">
              <a:buClr>
                <a:schemeClr val="tx1"/>
              </a:buClr>
              <a:buSzPct val="90000"/>
              <a:buFont typeface="Arial" pitchFamily="34" charset="0"/>
              <a:buChar char="•"/>
              <a:defRPr sz="20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/>
              <a:t>Use this Layout for Speaker Notes slid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2" y="6363076"/>
            <a:ext cx="12436476" cy="631450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699"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4394009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bg>
      <p:bgPr>
        <a:solidFill>
          <a:srgbClr val="0078D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21108671"/>
      </p:ext>
    </p:extLst>
  </p:cSld>
  <p:clrMapOvr>
    <a:masterClrMapping/>
  </p:clrMapOvr>
  <p:transition>
    <p:fade/>
  </p:transition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54560" y="1144706"/>
            <a:ext cx="9327356" cy="2435131"/>
          </a:xfrm>
        </p:spPr>
        <p:txBody>
          <a:bodyPr anchor="b"/>
          <a:lstStyle>
            <a:lvl1pPr algn="ctr">
              <a:defRPr sz="6119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54560" y="3673745"/>
            <a:ext cx="9327356" cy="1688724"/>
          </a:xfrm>
        </p:spPr>
        <p:txBody>
          <a:bodyPr/>
          <a:lstStyle>
            <a:lvl1pPr marL="0" indent="0" algn="ctr">
              <a:buNone/>
              <a:defRPr sz="2448"/>
            </a:lvl1pPr>
            <a:lvl2pPr marL="466298" indent="0" algn="ctr">
              <a:buNone/>
              <a:defRPr sz="2040"/>
            </a:lvl2pPr>
            <a:lvl3pPr marL="932597" indent="0" algn="ctr">
              <a:buNone/>
              <a:defRPr sz="1836"/>
            </a:lvl3pPr>
            <a:lvl4pPr marL="1398895" indent="0" algn="ctr">
              <a:buNone/>
              <a:defRPr sz="1632"/>
            </a:lvl4pPr>
            <a:lvl5pPr marL="1865193" indent="0" algn="ctr">
              <a:buNone/>
              <a:defRPr sz="1632"/>
            </a:lvl5pPr>
            <a:lvl6pPr marL="2331491" indent="0" algn="ctr">
              <a:buNone/>
              <a:defRPr sz="1632"/>
            </a:lvl6pPr>
            <a:lvl7pPr marL="2797790" indent="0" algn="ctr">
              <a:buNone/>
              <a:defRPr sz="1632"/>
            </a:lvl7pPr>
            <a:lvl8pPr marL="3264088" indent="0" algn="ctr">
              <a:buNone/>
              <a:defRPr sz="1632"/>
            </a:lvl8pPr>
            <a:lvl9pPr marL="3730386" indent="0" algn="ctr">
              <a:buNone/>
              <a:defRPr sz="1632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BFD0D1-7DED-437D-AF4F-67E5173ABE1C}" type="datetimeFigureOut">
              <a:rPr lang="en-US" smtClean="0"/>
              <a:t>11/21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056BD5-DA9F-4A48-A52F-4CA33E577EC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5048567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BFD0D1-7DED-437D-AF4F-67E5173ABE1C}" type="datetimeFigureOut">
              <a:rPr lang="en-US" smtClean="0"/>
              <a:t>11/21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056BD5-DA9F-4A48-A52F-4CA33E577EC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7478915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8530" y="1743775"/>
            <a:ext cx="10726460" cy="2909528"/>
          </a:xfrm>
        </p:spPr>
        <p:txBody>
          <a:bodyPr anchor="b"/>
          <a:lstStyle>
            <a:lvl1pPr>
              <a:defRPr sz="6119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48530" y="4680828"/>
            <a:ext cx="10726460" cy="1530052"/>
          </a:xfrm>
        </p:spPr>
        <p:txBody>
          <a:bodyPr/>
          <a:lstStyle>
            <a:lvl1pPr marL="0" indent="0">
              <a:buNone/>
              <a:defRPr sz="2448">
                <a:solidFill>
                  <a:schemeClr val="tx1">
                    <a:tint val="75000"/>
                  </a:schemeClr>
                </a:solidFill>
              </a:defRPr>
            </a:lvl1pPr>
            <a:lvl2pPr marL="466298" indent="0">
              <a:buNone/>
              <a:defRPr sz="2040">
                <a:solidFill>
                  <a:schemeClr val="tx1">
                    <a:tint val="75000"/>
                  </a:schemeClr>
                </a:solidFill>
              </a:defRPr>
            </a:lvl2pPr>
            <a:lvl3pPr marL="932597" indent="0">
              <a:buNone/>
              <a:defRPr sz="1836">
                <a:solidFill>
                  <a:schemeClr val="tx1">
                    <a:tint val="75000"/>
                  </a:schemeClr>
                </a:solidFill>
              </a:defRPr>
            </a:lvl3pPr>
            <a:lvl4pPr marL="1398895" indent="0">
              <a:buNone/>
              <a:defRPr sz="1632">
                <a:solidFill>
                  <a:schemeClr val="tx1">
                    <a:tint val="75000"/>
                  </a:schemeClr>
                </a:solidFill>
              </a:defRPr>
            </a:lvl4pPr>
            <a:lvl5pPr marL="1865193" indent="0">
              <a:buNone/>
              <a:defRPr sz="1632">
                <a:solidFill>
                  <a:schemeClr val="tx1">
                    <a:tint val="75000"/>
                  </a:schemeClr>
                </a:solidFill>
              </a:defRPr>
            </a:lvl5pPr>
            <a:lvl6pPr marL="2331491" indent="0">
              <a:buNone/>
              <a:defRPr sz="1632">
                <a:solidFill>
                  <a:schemeClr val="tx1">
                    <a:tint val="75000"/>
                  </a:schemeClr>
                </a:solidFill>
              </a:defRPr>
            </a:lvl6pPr>
            <a:lvl7pPr marL="2797790" indent="0">
              <a:buNone/>
              <a:defRPr sz="1632">
                <a:solidFill>
                  <a:schemeClr val="tx1">
                    <a:tint val="75000"/>
                  </a:schemeClr>
                </a:solidFill>
              </a:defRPr>
            </a:lvl7pPr>
            <a:lvl8pPr marL="3264088" indent="0">
              <a:buNone/>
              <a:defRPr sz="1632">
                <a:solidFill>
                  <a:schemeClr val="tx1">
                    <a:tint val="75000"/>
                  </a:schemeClr>
                </a:solidFill>
              </a:defRPr>
            </a:lvl8pPr>
            <a:lvl9pPr marL="3730386" indent="0">
              <a:buNone/>
              <a:defRPr sz="1632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BFD0D1-7DED-437D-AF4F-67E5173ABE1C}" type="datetimeFigureOut">
              <a:rPr lang="en-US" smtClean="0"/>
              <a:t>11/21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056BD5-DA9F-4A48-A52F-4CA33E577EC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48143061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55008" y="1861968"/>
            <a:ext cx="5285502" cy="443796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5965" y="1861968"/>
            <a:ext cx="5285502" cy="443796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BFD0D1-7DED-437D-AF4F-67E5173ABE1C}" type="datetimeFigureOut">
              <a:rPr lang="en-US" smtClean="0"/>
              <a:t>11/21/20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056BD5-DA9F-4A48-A52F-4CA33E577EC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4677272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0-50 Right Photo Layou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1241426"/>
            <a:ext cx="5486399" cy="2012859"/>
          </a:xfrm>
        </p:spPr>
        <p:txBody>
          <a:bodyPr>
            <a:spAutoFit/>
          </a:bodyPr>
          <a:lstStyle>
            <a:lvl1pPr>
              <a:defRPr sz="660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50/50 photo layout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 bwMode="ltGray">
          <a:xfrm>
            <a:off x="6219825" y="0"/>
            <a:ext cx="6216650" cy="6992587"/>
          </a:xfrm>
          <a:blipFill>
            <a:blip r:embed="rId2"/>
            <a:stretch>
              <a:fillRect/>
            </a:stretch>
          </a:blipFill>
        </p:spPr>
        <p:txBody>
          <a:bodyPr tIns="548640" anchor="ctr" anchorCtr="0">
            <a:noAutofit/>
          </a:bodyPr>
          <a:lstStyle>
            <a:lvl1pPr marL="0" indent="0" algn="ctr">
              <a:buNone/>
              <a:defRPr sz="1600" b="1" cap="none" baseline="0">
                <a:gradFill>
                  <a:gsLst>
                    <a:gs pos="0">
                      <a:srgbClr val="FFFFFF"/>
                    </a:gs>
                    <a:gs pos="27000">
                      <a:srgbClr val="FFFFFF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6697455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56627" y="372394"/>
            <a:ext cx="10726460" cy="135195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56628" y="1714631"/>
            <a:ext cx="5261211" cy="840314"/>
          </a:xfrm>
        </p:spPr>
        <p:txBody>
          <a:bodyPr anchor="b"/>
          <a:lstStyle>
            <a:lvl1pPr marL="0" indent="0">
              <a:buNone/>
              <a:defRPr sz="2448" b="1"/>
            </a:lvl1pPr>
            <a:lvl2pPr marL="466298" indent="0">
              <a:buNone/>
              <a:defRPr sz="2040" b="1"/>
            </a:lvl2pPr>
            <a:lvl3pPr marL="932597" indent="0">
              <a:buNone/>
              <a:defRPr sz="1836" b="1"/>
            </a:lvl3pPr>
            <a:lvl4pPr marL="1398895" indent="0">
              <a:buNone/>
              <a:defRPr sz="1632" b="1"/>
            </a:lvl4pPr>
            <a:lvl5pPr marL="1865193" indent="0">
              <a:buNone/>
              <a:defRPr sz="1632" b="1"/>
            </a:lvl5pPr>
            <a:lvl6pPr marL="2331491" indent="0">
              <a:buNone/>
              <a:defRPr sz="1632" b="1"/>
            </a:lvl6pPr>
            <a:lvl7pPr marL="2797790" indent="0">
              <a:buNone/>
              <a:defRPr sz="1632" b="1"/>
            </a:lvl7pPr>
            <a:lvl8pPr marL="3264088" indent="0">
              <a:buNone/>
              <a:defRPr sz="1632" b="1"/>
            </a:lvl8pPr>
            <a:lvl9pPr marL="3730386" indent="0">
              <a:buNone/>
              <a:defRPr sz="1632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56628" y="2554944"/>
            <a:ext cx="5261211" cy="375793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295965" y="1714631"/>
            <a:ext cx="5287122" cy="840314"/>
          </a:xfrm>
        </p:spPr>
        <p:txBody>
          <a:bodyPr anchor="b"/>
          <a:lstStyle>
            <a:lvl1pPr marL="0" indent="0">
              <a:buNone/>
              <a:defRPr sz="2448" b="1"/>
            </a:lvl1pPr>
            <a:lvl2pPr marL="466298" indent="0">
              <a:buNone/>
              <a:defRPr sz="2040" b="1"/>
            </a:lvl2pPr>
            <a:lvl3pPr marL="932597" indent="0">
              <a:buNone/>
              <a:defRPr sz="1836" b="1"/>
            </a:lvl3pPr>
            <a:lvl4pPr marL="1398895" indent="0">
              <a:buNone/>
              <a:defRPr sz="1632" b="1"/>
            </a:lvl4pPr>
            <a:lvl5pPr marL="1865193" indent="0">
              <a:buNone/>
              <a:defRPr sz="1632" b="1"/>
            </a:lvl5pPr>
            <a:lvl6pPr marL="2331491" indent="0">
              <a:buNone/>
              <a:defRPr sz="1632" b="1"/>
            </a:lvl6pPr>
            <a:lvl7pPr marL="2797790" indent="0">
              <a:buNone/>
              <a:defRPr sz="1632" b="1"/>
            </a:lvl7pPr>
            <a:lvl8pPr marL="3264088" indent="0">
              <a:buNone/>
              <a:defRPr sz="1632" b="1"/>
            </a:lvl8pPr>
            <a:lvl9pPr marL="3730386" indent="0">
              <a:buNone/>
              <a:defRPr sz="1632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95965" y="2554944"/>
            <a:ext cx="5287122" cy="375793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BFD0D1-7DED-437D-AF4F-67E5173ABE1C}" type="datetimeFigureOut">
              <a:rPr lang="en-US" smtClean="0"/>
              <a:t>11/21/2018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056BD5-DA9F-4A48-A52F-4CA33E577EC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82760542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BFD0D1-7DED-437D-AF4F-67E5173ABE1C}" type="datetimeFigureOut">
              <a:rPr lang="en-US" smtClean="0"/>
              <a:t>11/21/2018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056BD5-DA9F-4A48-A52F-4CA33E577EC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4239015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BFD0D1-7DED-437D-AF4F-67E5173ABE1C}" type="datetimeFigureOut">
              <a:rPr lang="en-US" smtClean="0"/>
              <a:t>11/21/2018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056BD5-DA9F-4A48-A52F-4CA33E577EC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5528600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56628" y="466302"/>
            <a:ext cx="4011087" cy="1632056"/>
          </a:xfrm>
        </p:spPr>
        <p:txBody>
          <a:bodyPr anchor="b"/>
          <a:lstStyle>
            <a:lvl1pPr>
              <a:defRPr sz="3264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287122" y="1007083"/>
            <a:ext cx="6295965" cy="4970646"/>
          </a:xfrm>
        </p:spPr>
        <p:txBody>
          <a:bodyPr/>
          <a:lstStyle>
            <a:lvl1pPr>
              <a:defRPr sz="3264"/>
            </a:lvl1pPr>
            <a:lvl2pPr>
              <a:defRPr sz="2856"/>
            </a:lvl2pPr>
            <a:lvl3pPr>
              <a:defRPr sz="2448"/>
            </a:lvl3pPr>
            <a:lvl4pPr>
              <a:defRPr sz="2040"/>
            </a:lvl4pPr>
            <a:lvl5pPr>
              <a:defRPr sz="2040"/>
            </a:lvl5pPr>
            <a:lvl6pPr>
              <a:defRPr sz="2040"/>
            </a:lvl6pPr>
            <a:lvl7pPr>
              <a:defRPr sz="2040"/>
            </a:lvl7pPr>
            <a:lvl8pPr>
              <a:defRPr sz="2040"/>
            </a:lvl8pPr>
            <a:lvl9pPr>
              <a:defRPr sz="204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56628" y="2098357"/>
            <a:ext cx="4011087" cy="3887467"/>
          </a:xfrm>
        </p:spPr>
        <p:txBody>
          <a:bodyPr/>
          <a:lstStyle>
            <a:lvl1pPr marL="0" indent="0">
              <a:buNone/>
              <a:defRPr sz="1632"/>
            </a:lvl1pPr>
            <a:lvl2pPr marL="466298" indent="0">
              <a:buNone/>
              <a:defRPr sz="1428"/>
            </a:lvl2pPr>
            <a:lvl3pPr marL="932597" indent="0">
              <a:buNone/>
              <a:defRPr sz="1224"/>
            </a:lvl3pPr>
            <a:lvl4pPr marL="1398895" indent="0">
              <a:buNone/>
              <a:defRPr sz="1020"/>
            </a:lvl4pPr>
            <a:lvl5pPr marL="1865193" indent="0">
              <a:buNone/>
              <a:defRPr sz="1020"/>
            </a:lvl5pPr>
            <a:lvl6pPr marL="2331491" indent="0">
              <a:buNone/>
              <a:defRPr sz="1020"/>
            </a:lvl6pPr>
            <a:lvl7pPr marL="2797790" indent="0">
              <a:buNone/>
              <a:defRPr sz="1020"/>
            </a:lvl7pPr>
            <a:lvl8pPr marL="3264088" indent="0">
              <a:buNone/>
              <a:defRPr sz="1020"/>
            </a:lvl8pPr>
            <a:lvl9pPr marL="3730386" indent="0">
              <a:buNone/>
              <a:defRPr sz="102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BFD0D1-7DED-437D-AF4F-67E5173ABE1C}" type="datetimeFigureOut">
              <a:rPr lang="en-US" smtClean="0"/>
              <a:t>11/21/20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056BD5-DA9F-4A48-A52F-4CA33E577EC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9090348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56628" y="466302"/>
            <a:ext cx="4011087" cy="1632056"/>
          </a:xfrm>
        </p:spPr>
        <p:txBody>
          <a:bodyPr anchor="b"/>
          <a:lstStyle>
            <a:lvl1pPr>
              <a:defRPr sz="3264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287122" y="1007083"/>
            <a:ext cx="6295965" cy="4970646"/>
          </a:xfrm>
        </p:spPr>
        <p:txBody>
          <a:bodyPr/>
          <a:lstStyle>
            <a:lvl1pPr marL="0" indent="0">
              <a:buNone/>
              <a:defRPr sz="3264"/>
            </a:lvl1pPr>
            <a:lvl2pPr marL="466298" indent="0">
              <a:buNone/>
              <a:defRPr sz="2856"/>
            </a:lvl2pPr>
            <a:lvl3pPr marL="932597" indent="0">
              <a:buNone/>
              <a:defRPr sz="2448"/>
            </a:lvl3pPr>
            <a:lvl4pPr marL="1398895" indent="0">
              <a:buNone/>
              <a:defRPr sz="2040"/>
            </a:lvl4pPr>
            <a:lvl5pPr marL="1865193" indent="0">
              <a:buNone/>
              <a:defRPr sz="2040"/>
            </a:lvl5pPr>
            <a:lvl6pPr marL="2331491" indent="0">
              <a:buNone/>
              <a:defRPr sz="2040"/>
            </a:lvl6pPr>
            <a:lvl7pPr marL="2797790" indent="0">
              <a:buNone/>
              <a:defRPr sz="2040"/>
            </a:lvl7pPr>
            <a:lvl8pPr marL="3264088" indent="0">
              <a:buNone/>
              <a:defRPr sz="2040"/>
            </a:lvl8pPr>
            <a:lvl9pPr marL="3730386" indent="0">
              <a:buNone/>
              <a:defRPr sz="204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56628" y="2098357"/>
            <a:ext cx="4011087" cy="3887467"/>
          </a:xfrm>
        </p:spPr>
        <p:txBody>
          <a:bodyPr/>
          <a:lstStyle>
            <a:lvl1pPr marL="0" indent="0">
              <a:buNone/>
              <a:defRPr sz="1632"/>
            </a:lvl1pPr>
            <a:lvl2pPr marL="466298" indent="0">
              <a:buNone/>
              <a:defRPr sz="1428"/>
            </a:lvl2pPr>
            <a:lvl3pPr marL="932597" indent="0">
              <a:buNone/>
              <a:defRPr sz="1224"/>
            </a:lvl3pPr>
            <a:lvl4pPr marL="1398895" indent="0">
              <a:buNone/>
              <a:defRPr sz="1020"/>
            </a:lvl4pPr>
            <a:lvl5pPr marL="1865193" indent="0">
              <a:buNone/>
              <a:defRPr sz="1020"/>
            </a:lvl5pPr>
            <a:lvl6pPr marL="2331491" indent="0">
              <a:buNone/>
              <a:defRPr sz="1020"/>
            </a:lvl6pPr>
            <a:lvl7pPr marL="2797790" indent="0">
              <a:buNone/>
              <a:defRPr sz="1020"/>
            </a:lvl7pPr>
            <a:lvl8pPr marL="3264088" indent="0">
              <a:buNone/>
              <a:defRPr sz="1020"/>
            </a:lvl8pPr>
            <a:lvl9pPr marL="3730386" indent="0">
              <a:buNone/>
              <a:defRPr sz="102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BFD0D1-7DED-437D-AF4F-67E5173ABE1C}" type="datetimeFigureOut">
              <a:rPr lang="en-US" smtClean="0"/>
              <a:t>11/21/20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056BD5-DA9F-4A48-A52F-4CA33E577EC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96512446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BFD0D1-7DED-437D-AF4F-67E5173ABE1C}" type="datetimeFigureOut">
              <a:rPr lang="en-US" smtClean="0"/>
              <a:t>11/21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056BD5-DA9F-4A48-A52F-4CA33E577EC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6218618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99852" y="372394"/>
            <a:ext cx="2681615" cy="5927537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55008" y="372394"/>
            <a:ext cx="7889389" cy="5927537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BFD0D1-7DED-437D-AF4F-67E5173ABE1C}" type="datetimeFigureOut">
              <a:rPr lang="en-US" smtClean="0"/>
              <a:t>11/21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056BD5-DA9F-4A48-A52F-4CA33E577EC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54793204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">
    <p:bg bwMode="gray"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 bwMode="auto">
          <a:xfrm>
            <a:off x="274638" y="2119164"/>
            <a:ext cx="6400800" cy="2749700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7" name="Rectangle 6"/>
          <p:cNvSpPr/>
          <p:nvPr userDrawn="1"/>
        </p:nvSpPr>
        <p:spPr bwMode="gray">
          <a:xfrm>
            <a:off x="0" y="5758901"/>
            <a:ext cx="12435840" cy="1235624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19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62280" y="6209084"/>
            <a:ext cx="1456418" cy="310896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3"/>
          <a:srcRect r="40044"/>
          <a:stretch/>
        </p:blipFill>
        <p:spPr>
          <a:xfrm>
            <a:off x="-246500" y="1965644"/>
            <a:ext cx="4736205" cy="21488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683898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 hidden="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459231" y="6240963"/>
            <a:ext cx="1278510" cy="274137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white">
          <a:xfrm>
            <a:off x="274702" y="1679645"/>
            <a:ext cx="9143936" cy="1828786"/>
          </a:xfrm>
          <a:noFill/>
        </p:spPr>
        <p:txBody>
          <a:bodyPr lIns="146304" tIns="91440" rIns="146304" bIns="91440" anchor="t" anchorCtr="0"/>
          <a:lstStyle>
            <a:lvl1pPr>
              <a:defRPr sz="5399" spc="-100" baseline="0">
                <a:gradFill>
                  <a:gsLst>
                    <a:gs pos="100000">
                      <a:schemeClr val="tx2"/>
                    </a:gs>
                    <a:gs pos="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2" hasCustomPrompt="1"/>
          </p:nvPr>
        </p:nvSpPr>
        <p:spPr bwMode="white">
          <a:xfrm>
            <a:off x="274702" y="3509753"/>
            <a:ext cx="7315137" cy="1828007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3199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6" name="Rectangle 5"/>
          <p:cNvSpPr/>
          <p:nvPr userDrawn="1"/>
        </p:nvSpPr>
        <p:spPr bwMode="gray">
          <a:xfrm>
            <a:off x="0" y="5897245"/>
            <a:ext cx="12435840" cy="1097280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19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70840" y="6294141"/>
            <a:ext cx="1456418" cy="3108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871968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74639" y="1212850"/>
            <a:ext cx="11887200" cy="2096222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1"/>
                    </a:gs>
                    <a:gs pos="99000">
                      <a:schemeClr val="tx1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2400"/>
            </a:lvl2pPr>
            <a:lvl3pPr marL="228557" indent="0">
              <a:buNone/>
              <a:defRPr/>
            </a:lvl3pPr>
            <a:lvl4pPr marL="457112" indent="0">
              <a:buNone/>
              <a:defRPr/>
            </a:lvl4pPr>
            <a:lvl5pPr marL="685669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79796601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1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2567534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2850"/>
            <a:ext cx="11887200" cy="2092881"/>
          </a:xfrm>
        </p:spPr>
        <p:txBody>
          <a:bodyPr>
            <a:spAutoFit/>
          </a:bodyPr>
          <a:lstStyle>
            <a:lvl1pPr>
              <a:defRPr sz="3999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73392068"/>
      </p:ext>
    </p:extLst>
  </p:cSld>
  <p:clrMapOvr>
    <a:masterClrMapping/>
  </p:clrMapOvr>
  <p:transition>
    <p:fade/>
  </p:transition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40" y="1212850"/>
            <a:ext cx="5486399" cy="1982081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itchFamily="2" charset="2"/>
              <a:buNone/>
              <a:defRPr sz="3199"/>
            </a:lvl1pPr>
            <a:lvl2pPr marL="0" indent="0">
              <a:buNone/>
              <a:defRPr sz="2400"/>
            </a:lvl2pPr>
            <a:lvl3pPr marL="231730" indent="0">
              <a:buNone/>
              <a:tabLst/>
              <a:defRPr sz="2000"/>
            </a:lvl3pPr>
            <a:lvl4pPr marL="460287" indent="0">
              <a:buNone/>
              <a:defRPr/>
            </a:lvl4pPr>
            <a:lvl5pPr marL="685669" indent="0">
              <a:buNone/>
              <a:tabLst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2850"/>
            <a:ext cx="5486399" cy="1982081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itchFamily="2" charset="2"/>
              <a:buNone/>
              <a:defRPr sz="3199"/>
            </a:lvl1pPr>
            <a:lvl2pPr marL="0" indent="0">
              <a:buNone/>
              <a:defRPr sz="2400"/>
            </a:lvl2pPr>
            <a:lvl3pPr marL="231730" indent="0">
              <a:buNone/>
              <a:tabLst/>
              <a:defRPr sz="2000"/>
            </a:lvl3pPr>
            <a:lvl4pPr marL="460287" indent="0">
              <a:buNone/>
              <a:defRPr/>
            </a:lvl4pPr>
            <a:lvl5pPr marL="685669" indent="0">
              <a:buNone/>
              <a:tabLst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01510996"/>
      </p:ext>
    </p:extLst>
  </p:cSld>
  <p:clrMapOvr>
    <a:masterClrMapping/>
  </p:clrMapOvr>
  <p:transition>
    <p:fade/>
  </p:transition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40" y="1212849"/>
            <a:ext cx="5486399" cy="2425279"/>
          </a:xfrm>
        </p:spPr>
        <p:txBody>
          <a:bodyPr wrap="square">
            <a:spAutoFit/>
          </a:bodyPr>
          <a:lstStyle>
            <a:lvl1pPr marL="287282" indent="-287282">
              <a:spcBef>
                <a:spcPts val="1224"/>
              </a:spcBef>
              <a:buClr>
                <a:schemeClr val="tx1"/>
              </a:buClr>
              <a:buFont typeface="Arial" pitchFamily="34" charset="0"/>
              <a:buChar char="•"/>
              <a:defRPr sz="3199"/>
            </a:lvl1pPr>
            <a:lvl2pPr marL="531064" indent="-233150">
              <a:defRPr sz="2400"/>
            </a:lvl2pPr>
            <a:lvl3pPr marL="699450" indent="-168387">
              <a:tabLst/>
              <a:defRPr sz="2000"/>
            </a:lvl3pPr>
            <a:lvl4pPr marL="880789" indent="-181339">
              <a:defRPr/>
            </a:lvl4pPr>
            <a:lvl5pPr marL="1049175" indent="-168387">
              <a:tabLst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2849"/>
            <a:ext cx="5486399" cy="2425279"/>
          </a:xfrm>
        </p:spPr>
        <p:txBody>
          <a:bodyPr wrap="square">
            <a:spAutoFit/>
          </a:bodyPr>
          <a:lstStyle>
            <a:lvl1pPr marL="287282" indent="-287282">
              <a:spcBef>
                <a:spcPts val="1224"/>
              </a:spcBef>
              <a:buClr>
                <a:schemeClr val="tx1"/>
              </a:buClr>
              <a:buFont typeface="Arial" pitchFamily="34" charset="0"/>
              <a:buChar char="•"/>
              <a:defRPr sz="3199"/>
            </a:lvl1pPr>
            <a:lvl2pPr marL="531064" indent="-233150">
              <a:defRPr sz="2400"/>
            </a:lvl2pPr>
            <a:lvl3pPr marL="699450" indent="-168387">
              <a:tabLst/>
              <a:defRPr sz="2000"/>
            </a:lvl3pPr>
            <a:lvl4pPr marL="880789" indent="-181339">
              <a:defRPr/>
            </a:lvl4pPr>
            <a:lvl5pPr marL="1049175" indent="-168387">
              <a:tabLst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816066005"/>
      </p:ext>
    </p:extLst>
  </p:cSld>
  <p:clrMapOvr>
    <a:masterClrMapping/>
  </p:clrMapOvr>
  <p:transition>
    <p:fade/>
  </p:transition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68646051"/>
      </p:ext>
    </p:extLst>
  </p:cSld>
  <p:clrMapOvr>
    <a:masterClrMapping/>
  </p:clrMapOvr>
  <p:transition>
    <p:fade/>
  </p:transition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er Evidence Slide">
    <p:bg bwMode="gray"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gradFill>
                  <a:gsLst>
                    <a:gs pos="18584">
                      <a:schemeClr val="tx2"/>
                    </a:gs>
                    <a:gs pos="57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Customer evidence slid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 bwMode="gray">
          <a:xfrm>
            <a:off x="274638" y="1434070"/>
            <a:ext cx="5486400" cy="1827214"/>
          </a:xfrm>
          <a:blipFill>
            <a:blip r:embed="rId2"/>
            <a:stretch>
              <a:fillRect/>
            </a:stretch>
          </a:blipFill>
        </p:spPr>
        <p:txBody>
          <a:bodyPr lIns="182880" tIns="146304" rIns="182880" bIns="146304">
            <a:noAutofit/>
          </a:bodyPr>
          <a:lstStyle>
            <a:lvl1pPr marL="0" indent="0">
              <a:buNone/>
              <a:defRPr lang="en-US" sz="2400" kern="1200" spc="0" baseline="0" dirty="0">
                <a:noFill/>
                <a:latin typeface="+mn-lt"/>
                <a:ea typeface="+mn-ea"/>
                <a:cs typeface="+mn-cs"/>
              </a:defRPr>
            </a:lvl1pPr>
            <a:lvl2pPr>
              <a:defRPr lang="en-US" sz="240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</a:lstStyle>
          <a:p>
            <a:pPr marL="0" marR="0" lvl="0" indent="0" algn="l" defTabSz="932563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</a:pPr>
            <a:endParaRPr lang="en-US" dirty="0"/>
          </a:p>
        </p:txBody>
      </p:sp>
      <p:sp>
        <p:nvSpPr>
          <p:cNvPr id="5" name="Rectangle 4"/>
          <p:cNvSpPr/>
          <p:nvPr userDrawn="1"/>
        </p:nvSpPr>
        <p:spPr bwMode="auto">
          <a:xfrm>
            <a:off x="6218237" y="4868863"/>
            <a:ext cx="5945966" cy="1828800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182854" tIns="146283" rIns="182854" bIns="146283" numCol="1" rtlCol="0" anchor="ctr" anchorCtr="0" compatLnSpc="1">
            <a:prstTxWarp prst="textNoShape">
              <a:avLst/>
            </a:prstTxWarp>
          </a:bodyPr>
          <a:lstStyle/>
          <a:p>
            <a:pPr algn="ctr" defTabSz="932293" fontAlgn="base">
              <a:spcBef>
                <a:spcPct val="0"/>
              </a:spcBef>
              <a:spcAft>
                <a:spcPct val="0"/>
              </a:spcAft>
            </a:pPr>
            <a:endParaRPr lang="en-US" sz="2000" dirty="0">
              <a:gradFill>
                <a:gsLst>
                  <a:gs pos="5439">
                    <a:srgbClr val="F8F8F8"/>
                  </a:gs>
                  <a:gs pos="10000">
                    <a:srgbClr val="F8F8F8"/>
                  </a:gs>
                </a:gsLst>
                <a:lin ang="5400000" scaled="0"/>
              </a:gradFill>
            </a:endParaRPr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6218237" y="1434069"/>
            <a:ext cx="5943601" cy="3433208"/>
          </a:xfrm>
          <a:blipFill>
            <a:blip r:embed="rId3"/>
            <a:stretch>
              <a:fillRect/>
            </a:stretch>
          </a:blipFill>
        </p:spPr>
        <p:txBody>
          <a:bodyPr lIns="182880" tIns="146304" rIns="182880" bIns="146304">
            <a:noAutofit/>
          </a:bodyPr>
          <a:lstStyle>
            <a:lvl1pPr marL="0" indent="0">
              <a:buNone/>
              <a:defRPr lang="en-US" sz="240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  <a:lvl2pPr algn="ctr">
              <a:defRPr lang="en-US" sz="240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</a:lstStyle>
          <a:p>
            <a:pPr marL="0" marR="0" lvl="0" indent="0" algn="l" defTabSz="932563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</a:pPr>
            <a:r>
              <a:rPr lang="en-US" dirty="0"/>
              <a:t>Your image here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5989638" y="1836883"/>
            <a:ext cx="0" cy="4754828"/>
          </a:xfrm>
          <a:prstGeom prst="line">
            <a:avLst/>
          </a:prstGeom>
          <a:ln w="3175">
            <a:solidFill>
              <a:schemeClr val="tx1">
                <a:alpha val="25000"/>
              </a:schemeClr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10"/>
          <p:cNvSpPr>
            <a:spLocks noGrp="1"/>
          </p:cNvSpPr>
          <p:nvPr>
            <p:ph type="body" sz="quarter" idx="12"/>
          </p:nvPr>
        </p:nvSpPr>
        <p:spPr>
          <a:xfrm>
            <a:off x="274638" y="3260725"/>
            <a:ext cx="5486400" cy="3436938"/>
          </a:xfrm>
        </p:spPr>
        <p:txBody>
          <a:bodyPr lIns="182880" tIns="146304" rIns="182880" bIns="146304">
            <a:noAutofit/>
          </a:bodyPr>
          <a:lstStyle>
            <a:lvl1pPr marL="0" indent="0">
              <a:buNone/>
              <a:defRPr sz="2400">
                <a:latin typeface="+mn-lt"/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3"/>
          </p:nvPr>
        </p:nvSpPr>
        <p:spPr>
          <a:xfrm>
            <a:off x="6218239" y="4868863"/>
            <a:ext cx="5943600" cy="1827214"/>
          </a:xfrm>
        </p:spPr>
        <p:txBody>
          <a:bodyPr lIns="182880" tIns="146304" rIns="182880" bIns="146304" anchor="ctr">
            <a:noAutofit/>
          </a:bodyPr>
          <a:lstStyle>
            <a:lvl1pPr marL="0" indent="0" algn="ctr">
              <a:buNone/>
              <a:defRPr sz="3199">
                <a:gradFill>
                  <a:gsLst>
                    <a:gs pos="27434">
                      <a:srgbClr val="FFFFFF"/>
                    </a:gs>
                    <a:gs pos="54000">
                      <a:srgbClr val="FFFFFF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31428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1209974"/>
            <a:ext cx="8228299" cy="1181862"/>
          </a:xfrm>
          <a:noFill/>
        </p:spPr>
        <p:txBody>
          <a:bodyPr wrap="square" tIns="91440" bIns="91440" anchor="t" anchorCtr="0">
            <a:spAutoFit/>
          </a:bodyPr>
          <a:lstStyle>
            <a:lvl1pPr>
              <a:defRPr sz="7198" spc="-100" baseline="0">
                <a:gradFill>
                  <a:gsLst>
                    <a:gs pos="8850">
                      <a:schemeClr val="tx1"/>
                    </a:gs>
                    <a:gs pos="23894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639" y="3954463"/>
            <a:ext cx="8229599" cy="738664"/>
          </a:xfrm>
          <a:noFill/>
        </p:spPr>
        <p:txBody>
          <a:bodyPr wrap="square"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3199" spc="0" baseline="0">
                <a:gradFill>
                  <a:gsLst>
                    <a:gs pos="8850">
                      <a:schemeClr val="tx1"/>
                    </a:gs>
                    <a:gs pos="23894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72314242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1209974"/>
            <a:ext cx="8229599" cy="1181862"/>
          </a:xfrm>
          <a:noFill/>
        </p:spPr>
        <p:txBody>
          <a:bodyPr wrap="square" tIns="91440" bIns="91440" anchor="t" anchorCtr="0">
            <a:spAutoFit/>
          </a:bodyPr>
          <a:lstStyle>
            <a:lvl1pPr>
              <a:defRPr sz="7198" spc="-100" baseline="0">
                <a:gradFill>
                  <a:gsLst>
                    <a:gs pos="10619">
                      <a:schemeClr val="tx1"/>
                    </a:gs>
                    <a:gs pos="26549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Video title</a:t>
            </a:r>
          </a:p>
        </p:txBody>
      </p:sp>
    </p:spTree>
    <p:extLst>
      <p:ext uri="{BB962C8B-B14F-4D97-AF65-F5344CB8AC3E}">
        <p14:creationId xmlns:p14="http://schemas.microsoft.com/office/powerpoint/2010/main" val="125895487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2125663"/>
            <a:ext cx="11887200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198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4487758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2125663"/>
            <a:ext cx="11887200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198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425837586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0-50 Right Photo Layou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40" y="1241426"/>
            <a:ext cx="5486399" cy="2012859"/>
          </a:xfrm>
        </p:spPr>
        <p:txBody>
          <a:bodyPr>
            <a:spAutoFit/>
          </a:bodyPr>
          <a:lstStyle>
            <a:lvl1pPr>
              <a:defRPr sz="6599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50/50 photo layout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 bwMode="ltGray">
          <a:xfrm>
            <a:off x="6219825" y="0"/>
            <a:ext cx="6216650" cy="6992587"/>
          </a:xfrm>
          <a:blipFill>
            <a:blip r:embed="rId2"/>
            <a:stretch>
              <a:fillRect/>
            </a:stretch>
          </a:blipFill>
        </p:spPr>
        <p:txBody>
          <a:bodyPr tIns="548640" anchor="ctr" anchorCtr="0">
            <a:noAutofit/>
          </a:bodyPr>
          <a:lstStyle>
            <a:lvl1pPr marL="0" indent="0" algn="ctr">
              <a:buNone/>
              <a:defRPr sz="1599" b="1" cap="none" baseline="0">
                <a:gradFill>
                  <a:gsLst>
                    <a:gs pos="0">
                      <a:srgbClr val="FFFFFF"/>
                    </a:gs>
                    <a:gs pos="27000">
                      <a:srgbClr val="FFFFFF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123679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5015991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8504886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6335861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Slide for developer code</a:t>
            </a:r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1" y="1212849"/>
            <a:ext cx="12436475" cy="5781676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32" tIns="46632" rIns="46632" bIns="4663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spcBef>
                <a:spcPct val="0"/>
              </a:spcBef>
              <a:spcAft>
                <a:spcPct val="0"/>
              </a:spcAft>
            </a:pPr>
            <a:endParaRPr lang="en-US" sz="18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74638" y="1221158"/>
            <a:ext cx="11887199" cy="1995931"/>
          </a:xfrm>
        </p:spPr>
        <p:txBody>
          <a:bodyPr/>
          <a:lstStyle>
            <a:lvl1pPr marL="0" indent="0">
              <a:buNone/>
              <a:defRPr sz="3299"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487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494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406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795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51197761"/>
      </p:ext>
    </p:extLst>
  </p:cSld>
  <p:clrMapOvr>
    <a:masterClrMapping/>
  </p:clrMapOvr>
  <p:transition>
    <p:fade/>
  </p:transition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_color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74638" y="6294477"/>
            <a:ext cx="11887199" cy="40318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82854" tIns="146283" rIns="182854" bIns="146283" numCol="1" anchor="t" anchorCtr="0" compatLnSpc="1">
            <a:prstTxWarp prst="textNoShape">
              <a:avLst/>
            </a:prstTxWarp>
            <a:spAutoFit/>
          </a:bodyPr>
          <a:lstStyle/>
          <a:p>
            <a:pPr defTabSz="932111" eaLnBrk="0" hangingPunct="0"/>
            <a:r>
              <a:rPr lang="en-US" sz="700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2016 Microsoft Corporation. All rights reserved. 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invGray">
          <a:xfrm>
            <a:off x="464013" y="479425"/>
            <a:ext cx="1436313" cy="3066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329002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74639" y="1212851"/>
            <a:ext cx="11887200" cy="2443746"/>
          </a:xfrm>
          <a:prstGeom prst="rect">
            <a:avLst/>
          </a:prstGeom>
        </p:spPr>
        <p:txBody>
          <a:bodyPr/>
          <a:lstStyle>
            <a:lvl1pPr marL="290457" indent="-290457">
              <a:buClr>
                <a:schemeClr val="tx1"/>
              </a:buClr>
              <a:buSzPct val="90000"/>
              <a:buFont typeface="Arial" pitchFamily="34" charset="0"/>
              <a:buChar char="•"/>
              <a:defRPr sz="359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71390" indent="-280935">
              <a:buClr>
                <a:schemeClr val="tx1"/>
              </a:buClr>
              <a:buSzPct val="90000"/>
              <a:buFont typeface="Arial" pitchFamily="34" charset="0"/>
              <a:buChar char="•"/>
              <a:defRPr sz="319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61847" indent="-290457">
              <a:buClr>
                <a:schemeClr val="tx1"/>
              </a:buClr>
              <a:buSzPct val="90000"/>
              <a:buFont typeface="Arial" pitchFamily="34" charset="0"/>
              <a:buChar char="•"/>
              <a:defRPr sz="28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90404" indent="-228557">
              <a:buClr>
                <a:schemeClr val="tx1"/>
              </a:buClr>
              <a:buSzPct val="90000"/>
              <a:buFont typeface="Arial" pitchFamily="34" charset="0"/>
              <a:buChar char="•"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318960" indent="-228557">
              <a:buClr>
                <a:schemeClr val="tx1"/>
              </a:buClr>
              <a:buSzPct val="90000"/>
              <a:buFont typeface="Arial" pitchFamily="34" charset="0"/>
              <a:buChar char="•"/>
              <a:defRPr sz="20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/>
              <a:t>Use this Layout for Speaker Notes slid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2" y="6363076"/>
            <a:ext cx="12436476" cy="631450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699"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8600017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1st level colo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40" y="1212851"/>
            <a:ext cx="11887200" cy="2092752"/>
          </a:xfrm>
        </p:spPr>
        <p:txBody>
          <a:bodyPr>
            <a:spAutoFit/>
          </a:bodyPr>
          <a:lstStyle>
            <a:lvl1pPr>
              <a:buClr>
                <a:schemeClr val="tx2"/>
              </a:buClr>
              <a:defRPr sz="3998">
                <a:gradFill>
                  <a:gsLst>
                    <a:gs pos="7080">
                      <a:schemeClr val="tx2"/>
                    </a:gs>
                    <a:gs pos="36283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77309195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Slide for developer code</a:t>
            </a:r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1" y="1212849"/>
            <a:ext cx="12436475" cy="5781676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39" tIns="46639" rIns="46639" bIns="4663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74638" y="1221157"/>
            <a:ext cx="11887199" cy="1995931"/>
          </a:xfrm>
        </p:spPr>
        <p:txBody>
          <a:bodyPr/>
          <a:lstStyle>
            <a:lvl1pPr marL="0" indent="0">
              <a:buNone/>
              <a:defRPr sz="3300"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553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607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563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997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29962453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2-color Non-bulleted tex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2025170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2000"/>
            </a:lvl2pPr>
            <a:lvl3pPr marL="228600" indent="0">
              <a:buNone/>
              <a:defRPr/>
            </a:lvl3pPr>
            <a:lvl4pPr marL="457200" indent="0">
              <a:buNone/>
              <a:defRPr/>
            </a:lvl4pPr>
            <a:lvl5pPr marL="6858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6105625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_color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74638" y="6294476"/>
            <a:ext cx="11887199" cy="40318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82880" tIns="146304" rIns="182880" bIns="146304" numCol="1" anchor="t" anchorCtr="0" compatLnSpc="1">
            <a:prstTxWarp prst="textNoShape">
              <a:avLst/>
            </a:prstTxWarp>
            <a:spAutoFit/>
          </a:bodyPr>
          <a:lstStyle/>
          <a:p>
            <a:pPr defTabSz="932290" eaLnBrk="0" hangingPunct="0"/>
            <a:r>
              <a:rPr lang="en-US" sz="700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2016 Microsoft Corporation. All rights reserved. 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380"/>
          <a:stretch/>
        </p:blipFill>
        <p:spPr bwMode="invGray">
          <a:xfrm>
            <a:off x="457200" y="479425"/>
            <a:ext cx="1449939" cy="3066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506913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74638" y="1212850"/>
            <a:ext cx="11887200" cy="2443746"/>
          </a:xfrm>
          <a:prstGeom prst="rect">
            <a:avLst/>
          </a:prstGeom>
        </p:spPr>
        <p:txBody>
          <a:bodyPr/>
          <a:lstStyle>
            <a:lvl1pPr marL="290513" indent="-290513">
              <a:buClr>
                <a:schemeClr val="tx1"/>
              </a:buClr>
              <a:buSzPct val="90000"/>
              <a:buFont typeface="Arial" pitchFamily="34" charset="0"/>
              <a:buChar char="•"/>
              <a:defRPr sz="36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71500" indent="-280988">
              <a:buClr>
                <a:schemeClr val="tx1"/>
              </a:buClr>
              <a:buSzPct val="90000"/>
              <a:buFont typeface="Arial" pitchFamily="34" charset="0"/>
              <a:buChar char="•"/>
              <a:defRPr sz="32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62013" indent="-290513">
              <a:buClr>
                <a:schemeClr val="tx1"/>
              </a:buClr>
              <a:buSzPct val="90000"/>
              <a:buFont typeface="Arial" pitchFamily="34" charset="0"/>
              <a:buChar char="•"/>
              <a:defRPr sz="28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90613" indent="-228600">
              <a:buClr>
                <a:schemeClr val="tx1"/>
              </a:buClr>
              <a:buSzPct val="90000"/>
              <a:buFont typeface="Arial" pitchFamily="34" charset="0"/>
              <a:buChar char="•"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319213" indent="-228600">
              <a:buClr>
                <a:schemeClr val="tx1"/>
              </a:buClr>
              <a:buSzPct val="90000"/>
              <a:buFont typeface="Arial" pitchFamily="34" charset="0"/>
              <a:buChar char="•"/>
              <a:defRPr sz="20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/>
              <a:t>Use this Layout for Speaker Notes slid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363076"/>
            <a:ext cx="12436476" cy="631450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700"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8296964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">
    <p:bg bwMode="gray"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 bwMode="auto">
          <a:xfrm>
            <a:off x="274638" y="2119164"/>
            <a:ext cx="6400800" cy="2749700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7" name="Rectangle 6"/>
          <p:cNvSpPr/>
          <p:nvPr userDrawn="1"/>
        </p:nvSpPr>
        <p:spPr bwMode="gray">
          <a:xfrm>
            <a:off x="0" y="5758901"/>
            <a:ext cx="12435840" cy="1235624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39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62280" y="6209084"/>
            <a:ext cx="1456418" cy="310896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3"/>
          <a:srcRect r="40044"/>
          <a:stretch/>
        </p:blipFill>
        <p:spPr>
          <a:xfrm>
            <a:off x="-246501" y="1965643"/>
            <a:ext cx="4736205" cy="21488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03416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 hidden="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459230" y="6240963"/>
            <a:ext cx="1278510" cy="274137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white">
          <a:xfrm>
            <a:off x="274702" y="1679645"/>
            <a:ext cx="9143936" cy="1828786"/>
          </a:xfrm>
          <a:noFill/>
        </p:spPr>
        <p:txBody>
          <a:bodyPr lIns="146304" tIns="91440" rIns="146304" bIns="91440" anchor="t" anchorCtr="0"/>
          <a:lstStyle>
            <a:lvl1pPr>
              <a:defRPr sz="5400" spc="-100" baseline="0">
                <a:gradFill>
                  <a:gsLst>
                    <a:gs pos="100000">
                      <a:schemeClr val="tx2"/>
                    </a:gs>
                    <a:gs pos="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2" hasCustomPrompt="1"/>
          </p:nvPr>
        </p:nvSpPr>
        <p:spPr bwMode="white">
          <a:xfrm>
            <a:off x="274701" y="3509753"/>
            <a:ext cx="7315137" cy="1828007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32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6" name="Rectangle 5"/>
          <p:cNvSpPr/>
          <p:nvPr userDrawn="1"/>
        </p:nvSpPr>
        <p:spPr bwMode="gray">
          <a:xfrm>
            <a:off x="0" y="5897245"/>
            <a:ext cx="12435840" cy="1097280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39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70840" y="6294142"/>
            <a:ext cx="1456418" cy="3108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356523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206518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1"/>
                    </a:gs>
                    <a:gs pos="99000">
                      <a:schemeClr val="tx1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2400"/>
            </a:lvl2pPr>
            <a:lvl3pPr marL="228600" indent="0">
              <a:buNone/>
              <a:defRPr/>
            </a:lvl3pPr>
            <a:lvl4pPr marL="457200" indent="0">
              <a:buNone/>
              <a:defRPr/>
            </a:lvl4pPr>
            <a:lvl5pPr marL="685800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80655951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2092881"/>
          </a:xfrm>
        </p:spPr>
        <p:txBody>
          <a:bodyPr>
            <a:spAutoFit/>
          </a:bodyPr>
          <a:lstStyle>
            <a:lvl1pPr>
              <a:defRPr sz="4000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33594543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2849"/>
            <a:ext cx="5486399" cy="1982081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itchFamily="2" charset="2"/>
              <a:buNone/>
              <a:defRPr sz="3200"/>
            </a:lvl1pPr>
            <a:lvl2pPr marL="0" indent="0">
              <a:buNone/>
              <a:defRPr sz="2400"/>
            </a:lvl2pPr>
            <a:lvl3pPr marL="231775" indent="0">
              <a:buNone/>
              <a:tabLst/>
              <a:defRPr sz="2000"/>
            </a:lvl3pPr>
            <a:lvl4pPr marL="460375" indent="0">
              <a:buNone/>
              <a:defRPr/>
            </a:lvl4pPr>
            <a:lvl5pPr marL="685800" indent="0">
              <a:buNone/>
              <a:tabLst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2849"/>
            <a:ext cx="5486399" cy="1982081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itchFamily="2" charset="2"/>
              <a:buNone/>
              <a:defRPr sz="3200"/>
            </a:lvl1pPr>
            <a:lvl2pPr marL="0" indent="0">
              <a:buNone/>
              <a:defRPr sz="2400"/>
            </a:lvl2pPr>
            <a:lvl3pPr marL="231775" indent="0">
              <a:buNone/>
              <a:tabLst/>
              <a:defRPr sz="2000"/>
            </a:lvl3pPr>
            <a:lvl4pPr marL="460375" indent="0">
              <a:buNone/>
              <a:defRPr/>
            </a:lvl4pPr>
            <a:lvl5pPr marL="685800" indent="0">
              <a:buNone/>
              <a:tabLst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42383446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2849"/>
            <a:ext cx="5486399" cy="2425279"/>
          </a:xfrm>
        </p:spPr>
        <p:txBody>
          <a:bodyPr wrap="square">
            <a:spAutoFit/>
          </a:bodyPr>
          <a:lstStyle>
            <a:lvl1pPr marL="287338" indent="-287338">
              <a:spcBef>
                <a:spcPts val="1224"/>
              </a:spcBef>
              <a:buClr>
                <a:schemeClr val="tx1"/>
              </a:buClr>
              <a:buFont typeface="Arial" pitchFamily="34" charset="0"/>
              <a:buChar char="•"/>
              <a:defRPr sz="3200"/>
            </a:lvl1pPr>
            <a:lvl2pPr marL="531166" indent="-233195">
              <a:defRPr sz="2400"/>
            </a:lvl2pPr>
            <a:lvl3pPr marL="699585" indent="-168419">
              <a:tabLst/>
              <a:defRPr sz="2000"/>
            </a:lvl3pPr>
            <a:lvl4pPr marL="880958" indent="-181374">
              <a:defRPr/>
            </a:lvl4pPr>
            <a:lvl5pPr marL="1049377" indent="-168419">
              <a:tabLst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2849"/>
            <a:ext cx="5486399" cy="2425279"/>
          </a:xfrm>
        </p:spPr>
        <p:txBody>
          <a:bodyPr wrap="square">
            <a:spAutoFit/>
          </a:bodyPr>
          <a:lstStyle>
            <a:lvl1pPr marL="287338" indent="-287338">
              <a:spcBef>
                <a:spcPts val="1224"/>
              </a:spcBef>
              <a:buClr>
                <a:schemeClr val="tx1"/>
              </a:buClr>
              <a:buFont typeface="Arial" pitchFamily="34" charset="0"/>
              <a:buChar char="•"/>
              <a:defRPr sz="3200"/>
            </a:lvl1pPr>
            <a:lvl2pPr marL="531166" indent="-233195">
              <a:defRPr sz="2400"/>
            </a:lvl2pPr>
            <a:lvl3pPr marL="699585" indent="-168419">
              <a:tabLst/>
              <a:defRPr sz="2000"/>
            </a:lvl3pPr>
            <a:lvl4pPr marL="880958" indent="-181374">
              <a:defRPr/>
            </a:lvl4pPr>
            <a:lvl5pPr marL="1049377" indent="-168419">
              <a:tabLst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347077705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26629171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er Evidence Slide">
    <p:bg bwMode="gray"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gradFill>
                  <a:gsLst>
                    <a:gs pos="18584">
                      <a:schemeClr val="tx2"/>
                    </a:gs>
                    <a:gs pos="57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Customer evidence slid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 bwMode="gray">
          <a:xfrm>
            <a:off x="274638" y="1434069"/>
            <a:ext cx="5486400" cy="1827214"/>
          </a:xfrm>
          <a:blipFill>
            <a:blip r:embed="rId2"/>
            <a:stretch>
              <a:fillRect/>
            </a:stretch>
          </a:blipFill>
        </p:spPr>
        <p:txBody>
          <a:bodyPr lIns="182880" tIns="146304" rIns="182880" bIns="146304">
            <a:noAutofit/>
          </a:bodyPr>
          <a:lstStyle>
            <a:lvl1pPr marL="0" indent="0">
              <a:buNone/>
              <a:defRPr lang="en-US" sz="2400" kern="1200" spc="0" baseline="0" dirty="0">
                <a:noFill/>
                <a:latin typeface="+mn-lt"/>
                <a:ea typeface="+mn-ea"/>
                <a:cs typeface="+mn-cs"/>
              </a:defRPr>
            </a:lvl1pPr>
            <a:lvl2pPr>
              <a:defRPr lang="en-US" sz="240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</a:lstStyle>
          <a:p>
            <a:pPr marL="0" marR="0" lvl="0" indent="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</a:pPr>
            <a:endParaRPr lang="en-US" dirty="0"/>
          </a:p>
        </p:txBody>
      </p:sp>
      <p:sp>
        <p:nvSpPr>
          <p:cNvPr id="5" name="Rectangle 4"/>
          <p:cNvSpPr/>
          <p:nvPr userDrawn="1"/>
        </p:nvSpPr>
        <p:spPr bwMode="auto">
          <a:xfrm>
            <a:off x="6218237" y="4868863"/>
            <a:ext cx="5945966" cy="1828800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182880" tIns="146304" rIns="182880" bIns="146304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 dirty="0">
              <a:gradFill>
                <a:gsLst>
                  <a:gs pos="5439">
                    <a:srgbClr val="F8F8F8"/>
                  </a:gs>
                  <a:gs pos="10000">
                    <a:srgbClr val="F8F8F8"/>
                  </a:gs>
                </a:gsLst>
                <a:lin ang="5400000" scaled="0"/>
              </a:gradFill>
            </a:endParaRPr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6218237" y="1434069"/>
            <a:ext cx="5943601" cy="3433208"/>
          </a:xfrm>
          <a:blipFill>
            <a:blip r:embed="rId3"/>
            <a:stretch>
              <a:fillRect/>
            </a:stretch>
          </a:blipFill>
        </p:spPr>
        <p:txBody>
          <a:bodyPr lIns="182880" tIns="146304" rIns="182880" bIns="146304">
            <a:noAutofit/>
          </a:bodyPr>
          <a:lstStyle>
            <a:lvl1pPr marL="0" indent="0">
              <a:buNone/>
              <a:defRPr lang="en-US" sz="240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  <a:lvl2pPr algn="ctr">
              <a:defRPr lang="en-US" sz="240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</a:lstStyle>
          <a:p>
            <a:pPr marL="0" marR="0" lvl="0" indent="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</a:pPr>
            <a:r>
              <a:rPr lang="en-US" dirty="0"/>
              <a:t>Your image here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5989638" y="1836883"/>
            <a:ext cx="0" cy="4754828"/>
          </a:xfrm>
          <a:prstGeom prst="line">
            <a:avLst/>
          </a:prstGeom>
          <a:ln w="3175">
            <a:solidFill>
              <a:schemeClr val="tx1">
                <a:alpha val="25000"/>
              </a:schemeClr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10"/>
          <p:cNvSpPr>
            <a:spLocks noGrp="1"/>
          </p:cNvSpPr>
          <p:nvPr>
            <p:ph type="body" sz="quarter" idx="12"/>
          </p:nvPr>
        </p:nvSpPr>
        <p:spPr>
          <a:xfrm>
            <a:off x="274638" y="3260725"/>
            <a:ext cx="5486400" cy="3436938"/>
          </a:xfrm>
        </p:spPr>
        <p:txBody>
          <a:bodyPr lIns="182880" tIns="146304" rIns="182880" bIns="146304">
            <a:noAutofit/>
          </a:bodyPr>
          <a:lstStyle>
            <a:lvl1pPr marL="0" indent="0">
              <a:buNone/>
              <a:defRPr sz="2400">
                <a:latin typeface="+mn-lt"/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3"/>
          </p:nvPr>
        </p:nvSpPr>
        <p:spPr>
          <a:xfrm>
            <a:off x="6218238" y="4868863"/>
            <a:ext cx="5943600" cy="1827214"/>
          </a:xfrm>
        </p:spPr>
        <p:txBody>
          <a:bodyPr lIns="182880" tIns="146304" rIns="182880" bIns="146304" anchor="ctr">
            <a:noAutofit/>
          </a:bodyPr>
          <a:lstStyle>
            <a:lvl1pPr marL="0" indent="0" algn="ctr">
              <a:buNone/>
              <a:defRPr sz="3200">
                <a:gradFill>
                  <a:gsLst>
                    <a:gs pos="27434">
                      <a:srgbClr val="FFFFFF"/>
                    </a:gs>
                    <a:gs pos="54000">
                      <a:srgbClr val="FFFFFF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9533110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2025170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1"/>
                    </a:gs>
                    <a:gs pos="99000">
                      <a:schemeClr val="tx1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2000"/>
            </a:lvl2pPr>
            <a:lvl3pPr marL="228600" indent="0">
              <a:buNone/>
              <a:defRPr/>
            </a:lvl3pPr>
            <a:lvl4pPr marL="457200" indent="0">
              <a:buNone/>
              <a:defRPr/>
            </a:lvl4pPr>
            <a:lvl5pPr marL="6858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3133736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8" y="1209973"/>
            <a:ext cx="8228299" cy="1181862"/>
          </a:xfrm>
          <a:noFill/>
        </p:spPr>
        <p:txBody>
          <a:bodyPr wrap="square" tIns="91440" bIns="91440" anchor="t" anchorCtr="0">
            <a:spAutoFit/>
          </a:bodyPr>
          <a:lstStyle>
            <a:lvl1pPr>
              <a:defRPr sz="7200" spc="-100" baseline="0">
                <a:gradFill>
                  <a:gsLst>
                    <a:gs pos="8850">
                      <a:schemeClr val="tx1"/>
                    </a:gs>
                    <a:gs pos="23894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638" y="3954463"/>
            <a:ext cx="8229599" cy="738664"/>
          </a:xfrm>
          <a:noFill/>
        </p:spPr>
        <p:txBody>
          <a:bodyPr wrap="square"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3200" spc="0" baseline="0">
                <a:gradFill>
                  <a:gsLst>
                    <a:gs pos="8850">
                      <a:schemeClr val="tx1"/>
                    </a:gs>
                    <a:gs pos="23894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329251919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8" y="1209973"/>
            <a:ext cx="8229599" cy="1181862"/>
          </a:xfrm>
          <a:noFill/>
        </p:spPr>
        <p:txBody>
          <a:bodyPr wrap="square" tIns="91440" bIns="91440" anchor="t" anchorCtr="0">
            <a:spAutoFit/>
          </a:bodyPr>
          <a:lstStyle>
            <a:lvl1pPr>
              <a:defRPr sz="7200" spc="-100" baseline="0">
                <a:gradFill>
                  <a:gsLst>
                    <a:gs pos="10619">
                      <a:schemeClr val="tx1"/>
                    </a:gs>
                    <a:gs pos="26549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Video title</a:t>
            </a:r>
          </a:p>
        </p:txBody>
      </p:sp>
    </p:spTree>
    <p:extLst>
      <p:ext uri="{BB962C8B-B14F-4D97-AF65-F5344CB8AC3E}">
        <p14:creationId xmlns:p14="http://schemas.microsoft.com/office/powerpoint/2010/main" val="22357042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8" y="2125662"/>
            <a:ext cx="11887200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200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02610405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8" y="2125662"/>
            <a:ext cx="11887200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200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55362693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0-50 Right Photo Layou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1241426"/>
            <a:ext cx="5486399" cy="2012859"/>
          </a:xfrm>
        </p:spPr>
        <p:txBody>
          <a:bodyPr>
            <a:spAutoFit/>
          </a:bodyPr>
          <a:lstStyle>
            <a:lvl1pPr>
              <a:defRPr sz="660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50/50 photo layout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 bwMode="ltGray">
          <a:xfrm>
            <a:off x="6219825" y="0"/>
            <a:ext cx="6216650" cy="6992587"/>
          </a:xfrm>
          <a:blipFill>
            <a:blip r:embed="rId2"/>
            <a:stretch>
              <a:fillRect/>
            </a:stretch>
          </a:blipFill>
        </p:spPr>
        <p:txBody>
          <a:bodyPr tIns="548640" anchor="ctr" anchorCtr="0">
            <a:noAutofit/>
          </a:bodyPr>
          <a:lstStyle>
            <a:lvl1pPr marL="0" indent="0" algn="ctr">
              <a:buNone/>
              <a:defRPr sz="1600" b="1" cap="none" baseline="0">
                <a:gradFill>
                  <a:gsLst>
                    <a:gs pos="0">
                      <a:srgbClr val="FFFFFF"/>
                    </a:gs>
                    <a:gs pos="27000">
                      <a:srgbClr val="FFFFFF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75085370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2302983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8565035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Slide for developer code</a:t>
            </a:r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1" y="1212849"/>
            <a:ext cx="12436475" cy="5781676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39" tIns="46639" rIns="46639" bIns="4663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74638" y="1221157"/>
            <a:ext cx="11887199" cy="1995931"/>
          </a:xfrm>
        </p:spPr>
        <p:txBody>
          <a:bodyPr/>
          <a:lstStyle>
            <a:lvl1pPr marL="0" indent="0">
              <a:buNone/>
              <a:defRPr sz="3300"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553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607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563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997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75001290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_color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74638" y="6294476"/>
            <a:ext cx="11887199" cy="40318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82880" tIns="146304" rIns="182880" bIns="146304" numCol="1" anchor="t" anchorCtr="0" compatLnSpc="1">
            <a:prstTxWarp prst="textNoShape">
              <a:avLst/>
            </a:prstTxWarp>
            <a:spAutoFit/>
          </a:bodyPr>
          <a:lstStyle/>
          <a:p>
            <a:pPr defTabSz="932290" eaLnBrk="0" hangingPunct="0"/>
            <a:r>
              <a:rPr lang="en-US" sz="700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2016 Microsoft Corporation. All rights reserved. 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invGray">
          <a:xfrm>
            <a:off x="464013" y="479425"/>
            <a:ext cx="1436313" cy="3066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125624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74638" y="1212850"/>
            <a:ext cx="11887200" cy="2443746"/>
          </a:xfrm>
          <a:prstGeom prst="rect">
            <a:avLst/>
          </a:prstGeom>
        </p:spPr>
        <p:txBody>
          <a:bodyPr/>
          <a:lstStyle>
            <a:lvl1pPr marL="290513" indent="-290513">
              <a:buClr>
                <a:schemeClr val="tx1"/>
              </a:buClr>
              <a:buSzPct val="90000"/>
              <a:buFont typeface="Arial" pitchFamily="34" charset="0"/>
              <a:buChar char="•"/>
              <a:defRPr sz="36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71500" indent="-280988">
              <a:buClr>
                <a:schemeClr val="tx1"/>
              </a:buClr>
              <a:buSzPct val="90000"/>
              <a:buFont typeface="Arial" pitchFamily="34" charset="0"/>
              <a:buChar char="•"/>
              <a:defRPr sz="32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62013" indent="-290513">
              <a:buClr>
                <a:schemeClr val="tx1"/>
              </a:buClr>
              <a:buSzPct val="90000"/>
              <a:buFont typeface="Arial" pitchFamily="34" charset="0"/>
              <a:buChar char="•"/>
              <a:defRPr sz="28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90613" indent="-228600">
              <a:buClr>
                <a:schemeClr val="tx1"/>
              </a:buClr>
              <a:buSzPct val="90000"/>
              <a:buFont typeface="Arial" pitchFamily="34" charset="0"/>
              <a:buChar char="•"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319213" indent="-228600">
              <a:buClr>
                <a:schemeClr val="tx1"/>
              </a:buClr>
              <a:buSzPct val="90000"/>
              <a:buFont typeface="Arial" pitchFamily="34" charset="0"/>
              <a:buChar char="•"/>
              <a:defRPr sz="20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/>
              <a:t>Use this Layout for Speaker Notes slid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363076"/>
            <a:ext cx="12436476" cy="631450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700"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8540401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1st level color tex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2092881"/>
          </a:xfrm>
        </p:spPr>
        <p:txBody>
          <a:bodyPr>
            <a:spAutoFit/>
          </a:bodyPr>
          <a:lstStyle>
            <a:lvl1pPr>
              <a:defRPr sz="4000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/>
          <p:cNvSpPr/>
          <p:nvPr userDrawn="1"/>
        </p:nvSpPr>
        <p:spPr>
          <a:xfrm>
            <a:off x="2636837" y="6686748"/>
            <a:ext cx="6216650" cy="307777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/>
            <a:r>
              <a:rPr lang="en-US" sz="14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Microsoft Confidential, Subject to Non-Disclosure Agreement (NDA)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373240436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1st level colo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2852"/>
            <a:ext cx="11887200" cy="2092752"/>
          </a:xfrm>
        </p:spPr>
        <p:txBody>
          <a:bodyPr>
            <a:spAutoFit/>
          </a:bodyPr>
          <a:lstStyle>
            <a:lvl1pPr>
              <a:buClr>
                <a:schemeClr val="tx2"/>
              </a:buClr>
              <a:defRPr sz="3999">
                <a:gradFill>
                  <a:gsLst>
                    <a:gs pos="7080">
                      <a:schemeClr val="tx2"/>
                    </a:gs>
                    <a:gs pos="36283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2912424"/>
      </p:ext>
    </p:extLst>
  </p:cSld>
  <p:clrMapOvr>
    <a:masterClrMapping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 bwMode="gray">
          <a:xfrm>
            <a:off x="0" y="5758901"/>
            <a:ext cx="12435840" cy="1235624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39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62280" y="6209084"/>
            <a:ext cx="1456418" cy="310896"/>
          </a:xfrm>
          <a:prstGeom prst="rect">
            <a:avLst/>
          </a:prstGeom>
        </p:spPr>
      </p:pic>
      <p:pic>
        <p:nvPicPr>
          <p:cNvPr id="16" name="Picture 15" hidden="1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459230" y="6240963"/>
            <a:ext cx="1278510" cy="274137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white">
          <a:xfrm>
            <a:off x="274702" y="1679645"/>
            <a:ext cx="9143936" cy="1828786"/>
          </a:xfrm>
          <a:noFill/>
        </p:spPr>
        <p:txBody>
          <a:bodyPr lIns="146304" tIns="91440" rIns="146304" bIns="91440" anchor="t" anchorCtr="0"/>
          <a:lstStyle>
            <a:lvl1pPr>
              <a:defRPr sz="5400" spc="-100" baseline="0">
                <a:gradFill>
                  <a:gsLst>
                    <a:gs pos="100000">
                      <a:schemeClr val="tx2"/>
                    </a:gs>
                    <a:gs pos="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2" hasCustomPrompt="1"/>
          </p:nvPr>
        </p:nvSpPr>
        <p:spPr bwMode="white">
          <a:xfrm>
            <a:off x="274701" y="3509753"/>
            <a:ext cx="7315137" cy="1828007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32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335083773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2-color Non-bulleted tex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2025170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2000"/>
            </a:lvl2pPr>
            <a:lvl3pPr marL="228600" indent="0">
              <a:buNone/>
              <a:defRPr/>
            </a:lvl3pPr>
            <a:lvl4pPr marL="457200" indent="0">
              <a:buNone/>
              <a:defRPr/>
            </a:lvl4pPr>
            <a:lvl5pPr marL="685800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8695971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2025170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1"/>
                    </a:gs>
                    <a:gs pos="99000">
                      <a:schemeClr val="tx1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2000"/>
            </a:lvl2pPr>
            <a:lvl3pPr marL="228600" indent="0">
              <a:buNone/>
              <a:defRPr/>
            </a:lvl3pPr>
            <a:lvl4pPr marL="457200" indent="0">
              <a:buNone/>
              <a:defRPr/>
            </a:lvl4pPr>
            <a:lvl5pPr marL="685800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1810061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1st level color tex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2092881"/>
          </a:xfrm>
        </p:spPr>
        <p:txBody>
          <a:bodyPr>
            <a:spAutoFit/>
          </a:bodyPr>
          <a:lstStyle>
            <a:lvl1pPr>
              <a:defRPr sz="4000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8669847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2092881"/>
          </a:xfrm>
        </p:spPr>
        <p:txBody>
          <a:bodyPr>
            <a:spAutoFit/>
          </a:bodyPr>
          <a:lstStyle>
            <a:lvl1pPr>
              <a:defRPr sz="4000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8340185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2-color Non-bulleted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2849"/>
            <a:ext cx="5486399" cy="1914370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itchFamily="2" charset="2"/>
              <a:buNone/>
              <a:defRPr sz="3200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2000"/>
            </a:lvl2pPr>
            <a:lvl3pPr marL="231775" indent="0">
              <a:buNone/>
              <a:tabLst/>
              <a:defRPr sz="2000"/>
            </a:lvl3pPr>
            <a:lvl4pPr marL="460375" indent="0">
              <a:buNone/>
              <a:defRPr/>
            </a:lvl4pPr>
            <a:lvl5pPr marL="685800" indent="0">
              <a:buNone/>
              <a:tabLst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2849"/>
            <a:ext cx="5486399" cy="1914370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itchFamily="2" charset="2"/>
              <a:buNone/>
              <a:defRPr sz="3200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2000"/>
            </a:lvl2pPr>
            <a:lvl3pPr marL="231775" indent="0">
              <a:buNone/>
              <a:tabLst/>
              <a:defRPr sz="2000"/>
            </a:lvl3pPr>
            <a:lvl4pPr marL="460375" indent="0">
              <a:buNone/>
              <a:defRPr/>
            </a:lvl4pPr>
            <a:lvl5pPr marL="685800" indent="0">
              <a:buNone/>
              <a:tabLst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9747864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2849"/>
            <a:ext cx="5486399" cy="1914370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itchFamily="2" charset="2"/>
              <a:buNone/>
              <a:defRPr sz="3200"/>
            </a:lvl1pPr>
            <a:lvl2pPr marL="0" indent="0">
              <a:buNone/>
              <a:defRPr sz="2000"/>
            </a:lvl2pPr>
            <a:lvl3pPr marL="231775" indent="0">
              <a:buNone/>
              <a:tabLst/>
              <a:defRPr sz="2000"/>
            </a:lvl3pPr>
            <a:lvl4pPr marL="460375" indent="0">
              <a:buNone/>
              <a:defRPr/>
            </a:lvl4pPr>
            <a:lvl5pPr marL="685800" indent="0">
              <a:buNone/>
              <a:tabLst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2849"/>
            <a:ext cx="5486399" cy="1914370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itchFamily="2" charset="2"/>
              <a:buNone/>
              <a:defRPr sz="3200"/>
            </a:lvl1pPr>
            <a:lvl2pPr marL="0" indent="0">
              <a:buNone/>
              <a:defRPr sz="2000"/>
            </a:lvl2pPr>
            <a:lvl3pPr marL="231775" indent="0">
              <a:buNone/>
              <a:tabLst/>
              <a:defRPr sz="2000"/>
            </a:lvl3pPr>
            <a:lvl4pPr marL="460375" indent="0">
              <a:buNone/>
              <a:defRPr/>
            </a:lvl4pPr>
            <a:lvl5pPr marL="685800" indent="0">
              <a:buNone/>
              <a:tabLst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9527684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 1st level color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2849"/>
            <a:ext cx="5486399" cy="2425279"/>
          </a:xfrm>
        </p:spPr>
        <p:txBody>
          <a:bodyPr wrap="square">
            <a:spAutoFit/>
          </a:bodyPr>
          <a:lstStyle>
            <a:lvl1pPr marL="287338" indent="-287338">
              <a:spcBef>
                <a:spcPts val="1224"/>
              </a:spcBef>
              <a:buClr>
                <a:schemeClr val="tx2"/>
              </a:buClr>
              <a:buFont typeface="Arial" pitchFamily="34" charset="0"/>
              <a:buChar char="•"/>
              <a:defRPr sz="3200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31166" indent="-233195">
              <a:defRPr sz="2400"/>
            </a:lvl2pPr>
            <a:lvl3pPr marL="699585" indent="-168419">
              <a:tabLst/>
              <a:defRPr sz="2000"/>
            </a:lvl3pPr>
            <a:lvl4pPr marL="880958" indent="-181374">
              <a:defRPr/>
            </a:lvl4pPr>
            <a:lvl5pPr marL="1049377" indent="-168419">
              <a:tabLst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2849"/>
            <a:ext cx="5486399" cy="2425279"/>
          </a:xfrm>
        </p:spPr>
        <p:txBody>
          <a:bodyPr wrap="square">
            <a:spAutoFit/>
          </a:bodyPr>
          <a:lstStyle>
            <a:lvl1pPr marL="287338" indent="-287338">
              <a:spcBef>
                <a:spcPts val="1224"/>
              </a:spcBef>
              <a:buClr>
                <a:schemeClr val="tx2"/>
              </a:buClr>
              <a:buFont typeface="Arial" pitchFamily="34" charset="0"/>
              <a:buChar char="•"/>
              <a:defRPr sz="3200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31166" indent="-233195">
              <a:defRPr sz="2400"/>
            </a:lvl2pPr>
            <a:lvl3pPr marL="699585" indent="-168419">
              <a:tabLst/>
              <a:defRPr sz="2000"/>
            </a:lvl3pPr>
            <a:lvl4pPr marL="880958" indent="-181374">
              <a:defRPr/>
            </a:lvl4pPr>
            <a:lvl5pPr marL="1049377" indent="-168419">
              <a:tabLst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7358864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2849"/>
            <a:ext cx="5486399" cy="2425279"/>
          </a:xfrm>
        </p:spPr>
        <p:txBody>
          <a:bodyPr wrap="square">
            <a:spAutoFit/>
          </a:bodyPr>
          <a:lstStyle>
            <a:lvl1pPr marL="287338" indent="-287338">
              <a:spcBef>
                <a:spcPts val="1224"/>
              </a:spcBef>
              <a:buClr>
                <a:schemeClr val="tx1"/>
              </a:buClr>
              <a:buFont typeface="Arial" pitchFamily="34" charset="0"/>
              <a:buChar char="•"/>
              <a:defRPr sz="3200"/>
            </a:lvl1pPr>
            <a:lvl2pPr marL="531166" indent="-233195">
              <a:defRPr sz="2400"/>
            </a:lvl2pPr>
            <a:lvl3pPr marL="699585" indent="-168419">
              <a:tabLst/>
              <a:defRPr sz="2000"/>
            </a:lvl3pPr>
            <a:lvl4pPr marL="880958" indent="-181374">
              <a:defRPr/>
            </a:lvl4pPr>
            <a:lvl5pPr marL="1049377" indent="-168419">
              <a:tabLst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2849"/>
            <a:ext cx="5486399" cy="2425279"/>
          </a:xfrm>
        </p:spPr>
        <p:txBody>
          <a:bodyPr wrap="square">
            <a:spAutoFit/>
          </a:bodyPr>
          <a:lstStyle>
            <a:lvl1pPr marL="287338" indent="-287338">
              <a:spcBef>
                <a:spcPts val="1224"/>
              </a:spcBef>
              <a:buClr>
                <a:schemeClr val="tx1"/>
              </a:buClr>
              <a:buFont typeface="Arial" pitchFamily="34" charset="0"/>
              <a:buChar char="•"/>
              <a:defRPr sz="3200"/>
            </a:lvl1pPr>
            <a:lvl2pPr marL="531166" indent="-233195">
              <a:defRPr sz="2400"/>
            </a:lvl2pPr>
            <a:lvl3pPr marL="699585" indent="-168419">
              <a:tabLst/>
              <a:defRPr sz="2000"/>
            </a:lvl3pPr>
            <a:lvl4pPr marL="880958" indent="-181374">
              <a:defRPr/>
            </a:lvl4pPr>
            <a:lvl5pPr marL="1049377" indent="-168419">
              <a:tabLst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3675529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2092881"/>
          </a:xfrm>
        </p:spPr>
        <p:txBody>
          <a:bodyPr>
            <a:spAutoFit/>
          </a:bodyPr>
          <a:lstStyle>
            <a:lvl1pPr>
              <a:defRPr sz="4000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0326847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0996460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er Evidence Slide">
    <p:bg bwMode="gray"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gradFill>
                  <a:gsLst>
                    <a:gs pos="18584">
                      <a:schemeClr val="tx2"/>
                    </a:gs>
                    <a:gs pos="57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Customer evidence slid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 bwMode="gray">
          <a:xfrm>
            <a:off x="274638" y="1434069"/>
            <a:ext cx="5486400" cy="1827214"/>
          </a:xfrm>
          <a:blipFill>
            <a:blip r:embed="rId2"/>
            <a:stretch>
              <a:fillRect/>
            </a:stretch>
          </a:blipFill>
        </p:spPr>
        <p:txBody>
          <a:bodyPr lIns="182880" tIns="146304" rIns="182880" bIns="146304">
            <a:noAutofit/>
          </a:bodyPr>
          <a:lstStyle>
            <a:lvl1pPr marL="0" indent="0">
              <a:buNone/>
              <a:defRPr lang="en-US" sz="2400" kern="1200" spc="0" baseline="0" dirty="0">
                <a:noFill/>
                <a:latin typeface="+mn-lt"/>
                <a:ea typeface="+mn-ea"/>
                <a:cs typeface="+mn-cs"/>
              </a:defRPr>
            </a:lvl1pPr>
            <a:lvl2pPr>
              <a:defRPr lang="en-US" sz="240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</a:lstStyle>
          <a:p>
            <a:pPr marL="0" marR="0" lvl="0" indent="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</a:pPr>
            <a:endParaRPr lang="en-US" dirty="0"/>
          </a:p>
        </p:txBody>
      </p:sp>
      <p:sp>
        <p:nvSpPr>
          <p:cNvPr id="5" name="Rectangle 4"/>
          <p:cNvSpPr/>
          <p:nvPr userDrawn="1"/>
        </p:nvSpPr>
        <p:spPr bwMode="auto">
          <a:xfrm>
            <a:off x="6218237" y="4868863"/>
            <a:ext cx="5945966" cy="1828800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182880" tIns="146304" rIns="182880" bIns="146304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 dirty="0">
              <a:gradFill>
                <a:gsLst>
                  <a:gs pos="5439">
                    <a:srgbClr val="F8F8F8"/>
                  </a:gs>
                  <a:gs pos="10000">
                    <a:srgbClr val="F8F8F8"/>
                  </a:gs>
                </a:gsLst>
                <a:lin ang="5400000" scaled="0"/>
              </a:gradFill>
            </a:endParaRPr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6218237" y="1434069"/>
            <a:ext cx="5943601" cy="3433208"/>
          </a:xfrm>
          <a:blipFill>
            <a:blip r:embed="rId3"/>
            <a:stretch>
              <a:fillRect/>
            </a:stretch>
          </a:blipFill>
        </p:spPr>
        <p:txBody>
          <a:bodyPr lIns="182880" tIns="146304" rIns="182880" bIns="146304">
            <a:noAutofit/>
          </a:bodyPr>
          <a:lstStyle>
            <a:lvl1pPr marL="0" indent="0">
              <a:buNone/>
              <a:defRPr lang="en-US" sz="240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  <a:lvl2pPr algn="ctr">
              <a:defRPr lang="en-US" sz="240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</a:lstStyle>
          <a:p>
            <a:pPr marL="0" marR="0" lvl="0" indent="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</a:pPr>
            <a:r>
              <a:rPr lang="en-US" dirty="0"/>
              <a:t>Your image here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5989638" y="1836883"/>
            <a:ext cx="0" cy="4754828"/>
          </a:xfrm>
          <a:prstGeom prst="line">
            <a:avLst/>
          </a:prstGeom>
          <a:ln w="3175">
            <a:solidFill>
              <a:schemeClr val="tx1">
                <a:alpha val="25000"/>
              </a:schemeClr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10"/>
          <p:cNvSpPr>
            <a:spLocks noGrp="1"/>
          </p:cNvSpPr>
          <p:nvPr>
            <p:ph type="body" sz="quarter" idx="12"/>
          </p:nvPr>
        </p:nvSpPr>
        <p:spPr>
          <a:xfrm>
            <a:off x="274638" y="3260725"/>
            <a:ext cx="5486400" cy="3436938"/>
          </a:xfrm>
        </p:spPr>
        <p:txBody>
          <a:bodyPr lIns="182880" tIns="146304" rIns="182880" bIns="146304">
            <a:noAutofit/>
          </a:bodyPr>
          <a:lstStyle>
            <a:lvl1pPr marL="0" indent="0">
              <a:buNone/>
              <a:defRPr sz="2400">
                <a:latin typeface="+mn-lt"/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3"/>
          </p:nvPr>
        </p:nvSpPr>
        <p:spPr>
          <a:xfrm>
            <a:off x="6218238" y="4868863"/>
            <a:ext cx="5943600" cy="1827214"/>
          </a:xfrm>
        </p:spPr>
        <p:txBody>
          <a:bodyPr lIns="182880" tIns="146304" rIns="182880" bIns="146304" anchor="ctr">
            <a:noAutofit/>
          </a:bodyPr>
          <a:lstStyle>
            <a:lvl1pPr marL="0" indent="0" algn="ctr">
              <a:buNone/>
              <a:defRPr sz="3200">
                <a:gradFill>
                  <a:gsLst>
                    <a:gs pos="27434">
                      <a:srgbClr val="FFFFFF"/>
                    </a:gs>
                    <a:gs pos="54000">
                      <a:srgbClr val="FFFFFF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9669854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8" y="1209973"/>
            <a:ext cx="8228299" cy="1181862"/>
          </a:xfrm>
          <a:noFill/>
        </p:spPr>
        <p:txBody>
          <a:bodyPr wrap="square" tIns="91440" bIns="91440" anchor="t" anchorCtr="0">
            <a:spAutoFit/>
          </a:bodyPr>
          <a:lstStyle>
            <a:lvl1pPr>
              <a:defRPr sz="7200" spc="-100" baseline="0">
                <a:gradFill>
                  <a:gsLst>
                    <a:gs pos="8850">
                      <a:schemeClr val="tx1"/>
                    </a:gs>
                    <a:gs pos="23894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638" y="3954463"/>
            <a:ext cx="8229599" cy="738664"/>
          </a:xfrm>
          <a:noFill/>
        </p:spPr>
        <p:txBody>
          <a:bodyPr wrap="square"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3200" spc="0" baseline="0">
                <a:gradFill>
                  <a:gsLst>
                    <a:gs pos="8850">
                      <a:schemeClr val="tx1"/>
                    </a:gs>
                    <a:gs pos="23894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408852537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8" y="1209973"/>
            <a:ext cx="8229599" cy="1181862"/>
          </a:xfrm>
          <a:noFill/>
        </p:spPr>
        <p:txBody>
          <a:bodyPr wrap="square" tIns="91440" bIns="91440" anchor="t" anchorCtr="0">
            <a:spAutoFit/>
          </a:bodyPr>
          <a:lstStyle>
            <a:lvl1pPr>
              <a:defRPr sz="7200" spc="-100" baseline="0">
                <a:gradFill>
                  <a:gsLst>
                    <a:gs pos="10619">
                      <a:schemeClr val="tx1"/>
                    </a:gs>
                    <a:gs pos="26549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Video title</a:t>
            </a:r>
          </a:p>
        </p:txBody>
      </p:sp>
    </p:spTree>
    <p:extLst>
      <p:ext uri="{BB962C8B-B14F-4D97-AF65-F5344CB8AC3E}">
        <p14:creationId xmlns:p14="http://schemas.microsoft.com/office/powerpoint/2010/main" val="367499328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8" y="2125662"/>
            <a:ext cx="11887200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200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22181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8" y="2125662"/>
            <a:ext cx="11887200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200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97650572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0-50 Right Photo Layou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1241426"/>
            <a:ext cx="5486399" cy="2012859"/>
          </a:xfrm>
        </p:spPr>
        <p:txBody>
          <a:bodyPr>
            <a:spAutoFit/>
          </a:bodyPr>
          <a:lstStyle>
            <a:lvl1pPr>
              <a:defRPr sz="660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50/50 photo layout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 bwMode="ltGray">
          <a:xfrm>
            <a:off x="6219825" y="0"/>
            <a:ext cx="6216650" cy="6992587"/>
          </a:xfrm>
          <a:blipFill>
            <a:blip r:embed="rId2"/>
            <a:stretch>
              <a:fillRect/>
            </a:stretch>
          </a:blipFill>
        </p:spPr>
        <p:txBody>
          <a:bodyPr tIns="548640" anchor="ctr" anchorCtr="0">
            <a:noAutofit/>
          </a:bodyPr>
          <a:lstStyle>
            <a:lvl1pPr marL="0" indent="0" algn="ctr">
              <a:buNone/>
              <a:defRPr sz="1600" b="1" cap="none" baseline="0">
                <a:gradFill>
                  <a:gsLst>
                    <a:gs pos="0">
                      <a:srgbClr val="FFFFFF"/>
                    </a:gs>
                    <a:gs pos="27000">
                      <a:srgbClr val="FFFFFF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79500563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1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6286061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9953841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Slide for developer code</a:t>
            </a:r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1" y="1212849"/>
            <a:ext cx="12436475" cy="5781676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39" tIns="46639" rIns="46639" bIns="4663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74638" y="1221157"/>
            <a:ext cx="11887199" cy="1995931"/>
          </a:xfrm>
        </p:spPr>
        <p:txBody>
          <a:bodyPr/>
          <a:lstStyle>
            <a:lvl1pPr marL="0" indent="0">
              <a:buNone/>
              <a:defRPr sz="3300"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553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607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563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997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4353885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2-color Non-bulleted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2849"/>
            <a:ext cx="5486399" cy="1914370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itchFamily="2" charset="2"/>
              <a:buNone/>
              <a:defRPr sz="3200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2000"/>
            </a:lvl2pPr>
            <a:lvl3pPr marL="231775" indent="0">
              <a:buNone/>
              <a:tabLst/>
              <a:defRPr sz="2000"/>
            </a:lvl3pPr>
            <a:lvl4pPr marL="460375" indent="0">
              <a:buNone/>
              <a:defRPr/>
            </a:lvl4pPr>
            <a:lvl5pPr marL="685800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2849"/>
            <a:ext cx="5486399" cy="1914370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itchFamily="2" charset="2"/>
              <a:buNone/>
              <a:defRPr sz="3200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2000"/>
            </a:lvl2pPr>
            <a:lvl3pPr marL="231775" indent="0">
              <a:buNone/>
              <a:tabLst/>
              <a:defRPr sz="2000"/>
            </a:lvl3pPr>
            <a:lvl4pPr marL="460375" indent="0">
              <a:buNone/>
              <a:defRPr/>
            </a:lvl4pPr>
            <a:lvl5pPr marL="685800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7397787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_color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74638" y="6294476"/>
            <a:ext cx="11887199" cy="40318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82880" tIns="146304" rIns="182880" bIns="146304" numCol="1" anchor="t" anchorCtr="0" compatLnSpc="1">
            <a:prstTxWarp prst="textNoShape">
              <a:avLst/>
            </a:prstTxWarp>
            <a:spAutoFit/>
          </a:bodyPr>
          <a:lstStyle/>
          <a:p>
            <a:pPr defTabSz="932290" eaLnBrk="0" hangingPunct="0"/>
            <a:r>
              <a:rPr lang="en-US" sz="700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2016 Microsoft Corporation. All rights reserved. 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380"/>
          <a:stretch/>
        </p:blipFill>
        <p:spPr bwMode="invGray">
          <a:xfrm>
            <a:off x="457200" y="479425"/>
            <a:ext cx="1449939" cy="3066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828159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74638" y="1212850"/>
            <a:ext cx="11887200" cy="2443746"/>
          </a:xfrm>
          <a:prstGeom prst="rect">
            <a:avLst/>
          </a:prstGeom>
        </p:spPr>
        <p:txBody>
          <a:bodyPr/>
          <a:lstStyle>
            <a:lvl1pPr marL="290513" indent="-290513">
              <a:buClr>
                <a:schemeClr val="tx1"/>
              </a:buClr>
              <a:buSzPct val="90000"/>
              <a:buFont typeface="Arial" pitchFamily="34" charset="0"/>
              <a:buChar char="•"/>
              <a:defRPr sz="36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71500" indent="-280988">
              <a:buClr>
                <a:schemeClr val="tx1"/>
              </a:buClr>
              <a:buSzPct val="90000"/>
              <a:buFont typeface="Arial" pitchFamily="34" charset="0"/>
              <a:buChar char="•"/>
              <a:defRPr sz="32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62013" indent="-290513">
              <a:buClr>
                <a:schemeClr val="tx1"/>
              </a:buClr>
              <a:buSzPct val="90000"/>
              <a:buFont typeface="Arial" pitchFamily="34" charset="0"/>
              <a:buChar char="•"/>
              <a:defRPr sz="28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90613" indent="-228600">
              <a:buClr>
                <a:schemeClr val="tx1"/>
              </a:buClr>
              <a:buSzPct val="90000"/>
              <a:buFont typeface="Arial" pitchFamily="34" charset="0"/>
              <a:buChar char="•"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319213" indent="-228600">
              <a:buClr>
                <a:schemeClr val="tx1"/>
              </a:buClr>
              <a:buSzPct val="90000"/>
              <a:buFont typeface="Arial" pitchFamily="34" charset="0"/>
              <a:buChar char="•"/>
              <a:defRPr sz="20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/>
              <a:t>Use this Layout for Speaker Notes slid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363076"/>
            <a:ext cx="12436476" cy="631450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700"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9040151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 bwMode="gray">
          <a:xfrm>
            <a:off x="0" y="5758901"/>
            <a:ext cx="12435840" cy="1235624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398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62280" y="6209084"/>
            <a:ext cx="1456418" cy="310896"/>
          </a:xfrm>
          <a:prstGeom prst="rect">
            <a:avLst/>
          </a:prstGeom>
        </p:spPr>
      </p:pic>
      <p:pic>
        <p:nvPicPr>
          <p:cNvPr id="16" name="Picture 15" hidden="1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459230" y="6240963"/>
            <a:ext cx="1278510" cy="274137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white">
          <a:xfrm>
            <a:off x="274702" y="1679645"/>
            <a:ext cx="9143936" cy="1828786"/>
          </a:xfrm>
          <a:noFill/>
        </p:spPr>
        <p:txBody>
          <a:bodyPr lIns="146304" tIns="91440" rIns="146304" bIns="91440" anchor="t" anchorCtr="0"/>
          <a:lstStyle>
            <a:lvl1pPr>
              <a:defRPr sz="5400" spc="-100" baseline="0">
                <a:gradFill>
                  <a:gsLst>
                    <a:gs pos="100000">
                      <a:schemeClr val="tx2"/>
                    </a:gs>
                    <a:gs pos="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2" hasCustomPrompt="1"/>
          </p:nvPr>
        </p:nvSpPr>
        <p:spPr bwMode="white">
          <a:xfrm>
            <a:off x="274701" y="3509753"/>
            <a:ext cx="7315137" cy="1828007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32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142272524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2-color Non-bulleted tex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2025170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2000"/>
            </a:lvl2pPr>
            <a:lvl3pPr marL="228600" indent="0">
              <a:buNone/>
              <a:defRPr/>
            </a:lvl3pPr>
            <a:lvl4pPr marL="457200" indent="0">
              <a:buNone/>
              <a:defRPr/>
            </a:lvl4pPr>
            <a:lvl5pPr marL="685800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0679402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2025170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1"/>
                    </a:gs>
                    <a:gs pos="99000">
                      <a:schemeClr val="tx1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2000"/>
            </a:lvl2pPr>
            <a:lvl3pPr marL="228600" indent="0">
              <a:buNone/>
              <a:defRPr/>
            </a:lvl3pPr>
            <a:lvl4pPr marL="457200" indent="0">
              <a:buNone/>
              <a:defRPr/>
            </a:lvl4pPr>
            <a:lvl5pPr marL="685800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1664114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1st level color tex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2092881"/>
          </a:xfrm>
        </p:spPr>
        <p:txBody>
          <a:bodyPr>
            <a:spAutoFit/>
          </a:bodyPr>
          <a:lstStyle>
            <a:lvl1pPr>
              <a:defRPr sz="4000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0280062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2092881"/>
          </a:xfrm>
        </p:spPr>
        <p:txBody>
          <a:bodyPr>
            <a:spAutoFit/>
          </a:bodyPr>
          <a:lstStyle>
            <a:lvl1pPr>
              <a:defRPr sz="4000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1653613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2-color Non-bulleted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2849"/>
            <a:ext cx="5486399" cy="1914370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itchFamily="2" charset="2"/>
              <a:buNone/>
              <a:defRPr sz="3200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2000"/>
            </a:lvl2pPr>
            <a:lvl3pPr marL="231775" indent="0">
              <a:buNone/>
              <a:tabLst/>
              <a:defRPr sz="2000"/>
            </a:lvl3pPr>
            <a:lvl4pPr marL="460375" indent="0">
              <a:buNone/>
              <a:defRPr/>
            </a:lvl4pPr>
            <a:lvl5pPr marL="685800" indent="0">
              <a:buNone/>
              <a:tabLst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2849"/>
            <a:ext cx="5486399" cy="1914370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itchFamily="2" charset="2"/>
              <a:buNone/>
              <a:defRPr sz="3200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2000"/>
            </a:lvl2pPr>
            <a:lvl3pPr marL="231775" indent="0">
              <a:buNone/>
              <a:tabLst/>
              <a:defRPr sz="2000"/>
            </a:lvl3pPr>
            <a:lvl4pPr marL="460375" indent="0">
              <a:buNone/>
              <a:defRPr/>
            </a:lvl4pPr>
            <a:lvl5pPr marL="685800" indent="0">
              <a:buNone/>
              <a:tabLst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5030255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2849"/>
            <a:ext cx="5486399" cy="1914370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itchFamily="2" charset="2"/>
              <a:buNone/>
              <a:defRPr sz="3200"/>
            </a:lvl1pPr>
            <a:lvl2pPr marL="0" indent="0">
              <a:buNone/>
              <a:defRPr sz="2000"/>
            </a:lvl2pPr>
            <a:lvl3pPr marL="231775" indent="0">
              <a:buNone/>
              <a:tabLst/>
              <a:defRPr sz="2000"/>
            </a:lvl3pPr>
            <a:lvl4pPr marL="460375" indent="0">
              <a:buNone/>
              <a:defRPr/>
            </a:lvl4pPr>
            <a:lvl5pPr marL="685800" indent="0">
              <a:buNone/>
              <a:tabLst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2849"/>
            <a:ext cx="5486399" cy="1914370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itchFamily="2" charset="2"/>
              <a:buNone/>
              <a:defRPr sz="3200"/>
            </a:lvl1pPr>
            <a:lvl2pPr marL="0" indent="0">
              <a:buNone/>
              <a:defRPr sz="2000"/>
            </a:lvl2pPr>
            <a:lvl3pPr marL="231775" indent="0">
              <a:buNone/>
              <a:tabLst/>
              <a:defRPr sz="2000"/>
            </a:lvl3pPr>
            <a:lvl4pPr marL="460375" indent="0">
              <a:buNone/>
              <a:defRPr/>
            </a:lvl4pPr>
            <a:lvl5pPr marL="685800" indent="0">
              <a:buNone/>
              <a:tabLst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6391802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 1st level color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2849"/>
            <a:ext cx="5486399" cy="2425279"/>
          </a:xfrm>
        </p:spPr>
        <p:txBody>
          <a:bodyPr wrap="square">
            <a:spAutoFit/>
          </a:bodyPr>
          <a:lstStyle>
            <a:lvl1pPr marL="287338" indent="-287338">
              <a:spcBef>
                <a:spcPts val="1224"/>
              </a:spcBef>
              <a:buClr>
                <a:schemeClr val="tx2"/>
              </a:buClr>
              <a:buFont typeface="Arial" pitchFamily="34" charset="0"/>
              <a:buChar char="•"/>
              <a:defRPr sz="3200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31166" indent="-233195">
              <a:defRPr sz="2400"/>
            </a:lvl2pPr>
            <a:lvl3pPr marL="699585" indent="-168419">
              <a:tabLst/>
              <a:defRPr sz="2000"/>
            </a:lvl3pPr>
            <a:lvl4pPr marL="880958" indent="-181374">
              <a:defRPr/>
            </a:lvl4pPr>
            <a:lvl5pPr marL="1049377" indent="-168419">
              <a:tabLst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2849"/>
            <a:ext cx="5486399" cy="2425279"/>
          </a:xfrm>
        </p:spPr>
        <p:txBody>
          <a:bodyPr wrap="square">
            <a:spAutoFit/>
          </a:bodyPr>
          <a:lstStyle>
            <a:lvl1pPr marL="287338" indent="-287338">
              <a:spcBef>
                <a:spcPts val="1224"/>
              </a:spcBef>
              <a:buClr>
                <a:schemeClr val="tx2"/>
              </a:buClr>
              <a:buFont typeface="Arial" pitchFamily="34" charset="0"/>
              <a:buChar char="•"/>
              <a:defRPr sz="3200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31166" indent="-233195">
              <a:defRPr sz="2400"/>
            </a:lvl2pPr>
            <a:lvl3pPr marL="699585" indent="-168419">
              <a:tabLst/>
              <a:defRPr sz="2000"/>
            </a:lvl3pPr>
            <a:lvl4pPr marL="880958" indent="-181374">
              <a:defRPr/>
            </a:lvl4pPr>
            <a:lvl5pPr marL="1049377" indent="-168419">
              <a:tabLst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8662235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2849"/>
            <a:ext cx="5486399" cy="1914370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itchFamily="2" charset="2"/>
              <a:buNone/>
              <a:defRPr sz="3200"/>
            </a:lvl1pPr>
            <a:lvl2pPr marL="0" indent="0">
              <a:buNone/>
              <a:defRPr sz="2000"/>
            </a:lvl2pPr>
            <a:lvl3pPr marL="231775" indent="0">
              <a:buNone/>
              <a:tabLst/>
              <a:defRPr sz="2000"/>
            </a:lvl3pPr>
            <a:lvl4pPr marL="460375" indent="0">
              <a:buNone/>
              <a:defRPr/>
            </a:lvl4pPr>
            <a:lvl5pPr marL="685800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2849"/>
            <a:ext cx="5486399" cy="1914370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itchFamily="2" charset="2"/>
              <a:buNone/>
              <a:defRPr sz="3200"/>
            </a:lvl1pPr>
            <a:lvl2pPr marL="0" indent="0">
              <a:buNone/>
              <a:defRPr sz="2000"/>
            </a:lvl2pPr>
            <a:lvl3pPr marL="231775" indent="0">
              <a:buNone/>
              <a:tabLst/>
              <a:defRPr sz="2000"/>
            </a:lvl3pPr>
            <a:lvl4pPr marL="460375" indent="0">
              <a:buNone/>
              <a:defRPr/>
            </a:lvl4pPr>
            <a:lvl5pPr marL="685800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795992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2849"/>
            <a:ext cx="5486399" cy="2425279"/>
          </a:xfrm>
        </p:spPr>
        <p:txBody>
          <a:bodyPr wrap="square">
            <a:spAutoFit/>
          </a:bodyPr>
          <a:lstStyle>
            <a:lvl1pPr marL="287338" indent="-287338">
              <a:spcBef>
                <a:spcPts val="1224"/>
              </a:spcBef>
              <a:buClr>
                <a:schemeClr val="tx1"/>
              </a:buClr>
              <a:buFont typeface="Arial" pitchFamily="34" charset="0"/>
              <a:buChar char="•"/>
              <a:defRPr sz="3200"/>
            </a:lvl1pPr>
            <a:lvl2pPr marL="531166" indent="-233195">
              <a:defRPr sz="2400"/>
            </a:lvl2pPr>
            <a:lvl3pPr marL="699585" indent="-168419">
              <a:tabLst/>
              <a:defRPr sz="2000"/>
            </a:lvl3pPr>
            <a:lvl4pPr marL="880958" indent="-181374">
              <a:defRPr/>
            </a:lvl4pPr>
            <a:lvl5pPr marL="1049377" indent="-168419">
              <a:tabLst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2849"/>
            <a:ext cx="5486399" cy="2425279"/>
          </a:xfrm>
        </p:spPr>
        <p:txBody>
          <a:bodyPr wrap="square">
            <a:spAutoFit/>
          </a:bodyPr>
          <a:lstStyle>
            <a:lvl1pPr marL="287338" indent="-287338">
              <a:spcBef>
                <a:spcPts val="1224"/>
              </a:spcBef>
              <a:buClr>
                <a:schemeClr val="tx1"/>
              </a:buClr>
              <a:buFont typeface="Arial" pitchFamily="34" charset="0"/>
              <a:buChar char="•"/>
              <a:defRPr sz="3200"/>
            </a:lvl1pPr>
            <a:lvl2pPr marL="531166" indent="-233195">
              <a:defRPr sz="2400"/>
            </a:lvl2pPr>
            <a:lvl3pPr marL="699585" indent="-168419">
              <a:tabLst/>
              <a:defRPr sz="2000"/>
            </a:lvl3pPr>
            <a:lvl4pPr marL="880958" indent="-181374">
              <a:defRPr/>
            </a:lvl4pPr>
            <a:lvl5pPr marL="1049377" indent="-168419">
              <a:tabLst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4226442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5358002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er Evidence Slide">
    <p:bg bwMode="gray"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gradFill>
                  <a:gsLst>
                    <a:gs pos="18584">
                      <a:schemeClr val="tx2"/>
                    </a:gs>
                    <a:gs pos="57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Customer evidence slid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 bwMode="gray">
          <a:xfrm>
            <a:off x="274638" y="1434069"/>
            <a:ext cx="5486400" cy="1827214"/>
          </a:xfrm>
          <a:blipFill>
            <a:blip r:embed="rId2"/>
            <a:stretch>
              <a:fillRect/>
            </a:stretch>
          </a:blipFill>
        </p:spPr>
        <p:txBody>
          <a:bodyPr lIns="182880" tIns="146304" rIns="182880" bIns="146304">
            <a:noAutofit/>
          </a:bodyPr>
          <a:lstStyle>
            <a:lvl1pPr marL="0" indent="0">
              <a:buNone/>
              <a:defRPr lang="en-US" sz="2400" kern="1200" spc="0" baseline="0" dirty="0">
                <a:noFill/>
                <a:latin typeface="+mn-lt"/>
                <a:ea typeface="+mn-ea"/>
                <a:cs typeface="+mn-cs"/>
              </a:defRPr>
            </a:lvl1pPr>
            <a:lvl2pPr>
              <a:defRPr lang="en-US" sz="240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</a:lstStyle>
          <a:p>
            <a:pPr marL="0" marR="0" lvl="0" indent="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</a:pPr>
            <a:endParaRPr lang="en-US" dirty="0"/>
          </a:p>
        </p:txBody>
      </p:sp>
      <p:sp>
        <p:nvSpPr>
          <p:cNvPr id="5" name="Rectangle 4"/>
          <p:cNvSpPr/>
          <p:nvPr userDrawn="1"/>
        </p:nvSpPr>
        <p:spPr bwMode="auto">
          <a:xfrm>
            <a:off x="6218237" y="4868863"/>
            <a:ext cx="5945966" cy="1828800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182880" tIns="146304" rIns="182880" bIns="146304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32472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0" cap="none" spc="0" normalizeH="0" baseline="0" noProof="0" dirty="0">
              <a:ln>
                <a:noFill/>
              </a:ln>
              <a:gradFill>
                <a:gsLst>
                  <a:gs pos="5439">
                    <a:srgbClr val="F8F8F8"/>
                  </a:gs>
                  <a:gs pos="10000">
                    <a:srgbClr val="F8F8F8"/>
                  </a:gs>
                </a:gsLst>
                <a:lin ang="5400000" scaled="0"/>
              </a:gradFill>
              <a:effectLst/>
              <a:uLnTx/>
              <a:uFillTx/>
            </a:endParaRPr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6218237" y="1434069"/>
            <a:ext cx="5943601" cy="3433208"/>
          </a:xfrm>
          <a:blipFill>
            <a:blip r:embed="rId3"/>
            <a:stretch>
              <a:fillRect/>
            </a:stretch>
          </a:blipFill>
        </p:spPr>
        <p:txBody>
          <a:bodyPr lIns="182880" tIns="146304" rIns="182880" bIns="146304">
            <a:noAutofit/>
          </a:bodyPr>
          <a:lstStyle>
            <a:lvl1pPr marL="0" indent="0">
              <a:buNone/>
              <a:defRPr lang="en-US" sz="240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  <a:lvl2pPr algn="ctr">
              <a:defRPr lang="en-US" sz="240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</a:lstStyle>
          <a:p>
            <a:pPr marL="0" marR="0" lvl="0" indent="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</a:pPr>
            <a:r>
              <a:rPr lang="en-US" dirty="0"/>
              <a:t>Your image here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5989638" y="1836883"/>
            <a:ext cx="0" cy="4754828"/>
          </a:xfrm>
          <a:prstGeom prst="line">
            <a:avLst/>
          </a:prstGeom>
          <a:ln w="3175">
            <a:solidFill>
              <a:schemeClr val="tx1">
                <a:alpha val="25000"/>
              </a:schemeClr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10"/>
          <p:cNvSpPr>
            <a:spLocks noGrp="1"/>
          </p:cNvSpPr>
          <p:nvPr>
            <p:ph type="body" sz="quarter" idx="12"/>
          </p:nvPr>
        </p:nvSpPr>
        <p:spPr>
          <a:xfrm>
            <a:off x="274638" y="3260725"/>
            <a:ext cx="5486400" cy="3436938"/>
          </a:xfrm>
        </p:spPr>
        <p:txBody>
          <a:bodyPr lIns="182880" tIns="146304" rIns="182880" bIns="146304">
            <a:noAutofit/>
          </a:bodyPr>
          <a:lstStyle>
            <a:lvl1pPr marL="0" indent="0">
              <a:buNone/>
              <a:defRPr sz="2400">
                <a:latin typeface="+mn-lt"/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3"/>
          </p:nvPr>
        </p:nvSpPr>
        <p:spPr>
          <a:xfrm>
            <a:off x="6218238" y="4868863"/>
            <a:ext cx="5943600" cy="1827214"/>
          </a:xfrm>
        </p:spPr>
        <p:txBody>
          <a:bodyPr lIns="182880" tIns="146304" rIns="182880" bIns="146304" anchor="ctr">
            <a:noAutofit/>
          </a:bodyPr>
          <a:lstStyle>
            <a:lvl1pPr marL="0" indent="0" algn="ctr">
              <a:buNone/>
              <a:defRPr sz="3200">
                <a:gradFill>
                  <a:gsLst>
                    <a:gs pos="27434">
                      <a:srgbClr val="FFFFFF"/>
                    </a:gs>
                    <a:gs pos="54000">
                      <a:srgbClr val="FFFFFF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1081332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8" y="1209973"/>
            <a:ext cx="8228299" cy="1181862"/>
          </a:xfrm>
          <a:noFill/>
        </p:spPr>
        <p:txBody>
          <a:bodyPr wrap="square" tIns="91440" bIns="91440" anchor="t" anchorCtr="0">
            <a:spAutoFit/>
          </a:bodyPr>
          <a:lstStyle>
            <a:lvl1pPr>
              <a:defRPr sz="7200" spc="-100" baseline="0">
                <a:gradFill>
                  <a:gsLst>
                    <a:gs pos="8850">
                      <a:schemeClr val="tx1"/>
                    </a:gs>
                    <a:gs pos="23894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638" y="3954463"/>
            <a:ext cx="8229599" cy="738664"/>
          </a:xfrm>
          <a:noFill/>
        </p:spPr>
        <p:txBody>
          <a:bodyPr wrap="square"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3200" spc="0" baseline="0">
                <a:gradFill>
                  <a:gsLst>
                    <a:gs pos="8850">
                      <a:schemeClr val="tx1"/>
                    </a:gs>
                    <a:gs pos="23894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263083565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8" y="1209973"/>
            <a:ext cx="8229599" cy="1181862"/>
          </a:xfrm>
          <a:noFill/>
        </p:spPr>
        <p:txBody>
          <a:bodyPr wrap="square" tIns="91440" bIns="91440" anchor="t" anchorCtr="0">
            <a:spAutoFit/>
          </a:bodyPr>
          <a:lstStyle>
            <a:lvl1pPr>
              <a:defRPr sz="7200" spc="-100" baseline="0">
                <a:gradFill>
                  <a:gsLst>
                    <a:gs pos="10619">
                      <a:schemeClr val="tx1"/>
                    </a:gs>
                    <a:gs pos="26549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Video title</a:t>
            </a:r>
          </a:p>
        </p:txBody>
      </p:sp>
    </p:spTree>
    <p:extLst>
      <p:ext uri="{BB962C8B-B14F-4D97-AF65-F5344CB8AC3E}">
        <p14:creationId xmlns:p14="http://schemas.microsoft.com/office/powerpoint/2010/main" val="48948901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8" y="2125662"/>
            <a:ext cx="11887200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200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08760540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8" y="2125662"/>
            <a:ext cx="11887200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200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66809125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0-50 Right Photo Layou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1241426"/>
            <a:ext cx="5486399" cy="2012859"/>
          </a:xfrm>
        </p:spPr>
        <p:txBody>
          <a:bodyPr>
            <a:spAutoFit/>
          </a:bodyPr>
          <a:lstStyle>
            <a:lvl1pPr>
              <a:defRPr sz="660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50/50 photo layout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 bwMode="ltGray">
          <a:xfrm>
            <a:off x="6219825" y="0"/>
            <a:ext cx="6216650" cy="6992587"/>
          </a:xfrm>
          <a:blipFill>
            <a:blip r:embed="rId2"/>
            <a:stretch>
              <a:fillRect/>
            </a:stretch>
          </a:blipFill>
        </p:spPr>
        <p:txBody>
          <a:bodyPr tIns="548640" anchor="ctr" anchorCtr="0">
            <a:noAutofit/>
          </a:bodyPr>
          <a:lstStyle>
            <a:lvl1pPr marL="0" indent="0" algn="ctr">
              <a:buNone/>
              <a:defRPr sz="1600" b="1" cap="none" baseline="0">
                <a:gradFill>
                  <a:gsLst>
                    <a:gs pos="0">
                      <a:srgbClr val="FFFFFF"/>
                    </a:gs>
                    <a:gs pos="27000">
                      <a:srgbClr val="FFFFFF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79820284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1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5571467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8506230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 1st level color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2849"/>
            <a:ext cx="5486399" cy="2425279"/>
          </a:xfrm>
        </p:spPr>
        <p:txBody>
          <a:bodyPr wrap="square">
            <a:spAutoFit/>
          </a:bodyPr>
          <a:lstStyle>
            <a:lvl1pPr marL="287338" indent="-287338">
              <a:spcBef>
                <a:spcPts val="1224"/>
              </a:spcBef>
              <a:buClr>
                <a:schemeClr val="tx2"/>
              </a:buClr>
              <a:buFont typeface="Arial" pitchFamily="34" charset="0"/>
              <a:buChar char="•"/>
              <a:defRPr sz="3200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31166" indent="-233195">
              <a:defRPr sz="2400"/>
            </a:lvl2pPr>
            <a:lvl3pPr marL="699585" indent="-168419">
              <a:tabLst/>
              <a:defRPr sz="2000"/>
            </a:lvl3pPr>
            <a:lvl4pPr marL="880958" indent="-181374">
              <a:defRPr/>
            </a:lvl4pPr>
            <a:lvl5pPr marL="1049377" indent="-168419"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2849"/>
            <a:ext cx="5486399" cy="2425279"/>
          </a:xfrm>
        </p:spPr>
        <p:txBody>
          <a:bodyPr wrap="square">
            <a:spAutoFit/>
          </a:bodyPr>
          <a:lstStyle>
            <a:lvl1pPr marL="287338" indent="-287338">
              <a:spcBef>
                <a:spcPts val="1224"/>
              </a:spcBef>
              <a:buClr>
                <a:schemeClr val="tx2"/>
              </a:buClr>
              <a:buFont typeface="Arial" pitchFamily="34" charset="0"/>
              <a:buChar char="•"/>
              <a:defRPr sz="3200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31166" indent="-233195">
              <a:defRPr sz="2400"/>
            </a:lvl2pPr>
            <a:lvl3pPr marL="699585" indent="-168419">
              <a:tabLst/>
              <a:defRPr sz="2000"/>
            </a:lvl3pPr>
            <a:lvl4pPr marL="880958" indent="-181374">
              <a:defRPr/>
            </a:lvl4pPr>
            <a:lvl5pPr marL="1049377" indent="-168419"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6056847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Slide for developer code</a:t>
            </a:r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1" y="1212849"/>
            <a:ext cx="12436475" cy="5781676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39" tIns="46639" rIns="46639" bIns="4663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74638" y="1221157"/>
            <a:ext cx="11887199" cy="1995931"/>
          </a:xfrm>
        </p:spPr>
        <p:txBody>
          <a:bodyPr/>
          <a:lstStyle>
            <a:lvl1pPr marL="0" indent="0">
              <a:buNone/>
              <a:defRPr sz="3300"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553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607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563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997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71683672"/>
      </p:ext>
    </p:extLst>
  </p:cSld>
  <p:clrMapOvr>
    <a:masterClrMapping/>
  </p:clrMapOvr>
  <p:transition>
    <p:fade/>
  </p:transition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_color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74638" y="6294476"/>
            <a:ext cx="11887199" cy="40318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82880" tIns="146304" rIns="182880" bIns="146304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defTabSz="93229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uLnTx/>
                <a:uFillTx/>
                <a:cs typeface="Segoe UI" pitchFamily="34" charset="0"/>
              </a:rPr>
              <a:t>© 2016 Microsoft Corporation. All rights reserved. 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380"/>
          <a:stretch/>
        </p:blipFill>
        <p:spPr bwMode="invGray">
          <a:xfrm>
            <a:off x="457200" y="479425"/>
            <a:ext cx="1449939" cy="3066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635685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74638" y="1212850"/>
            <a:ext cx="11887200" cy="2443746"/>
          </a:xfrm>
          <a:prstGeom prst="rect">
            <a:avLst/>
          </a:prstGeom>
        </p:spPr>
        <p:txBody>
          <a:bodyPr/>
          <a:lstStyle>
            <a:lvl1pPr marL="290513" indent="-290513">
              <a:buClr>
                <a:schemeClr val="tx1"/>
              </a:buClr>
              <a:buSzPct val="90000"/>
              <a:buFont typeface="Arial" pitchFamily="34" charset="0"/>
              <a:buChar char="•"/>
              <a:defRPr sz="36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71500" indent="-280988">
              <a:buClr>
                <a:schemeClr val="tx1"/>
              </a:buClr>
              <a:buSzPct val="90000"/>
              <a:buFont typeface="Arial" pitchFamily="34" charset="0"/>
              <a:buChar char="•"/>
              <a:defRPr sz="32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62013" indent="-290513">
              <a:buClr>
                <a:schemeClr val="tx1"/>
              </a:buClr>
              <a:buSzPct val="90000"/>
              <a:buFont typeface="Arial" pitchFamily="34" charset="0"/>
              <a:buChar char="•"/>
              <a:defRPr sz="28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90613" indent="-228600">
              <a:buClr>
                <a:schemeClr val="tx1"/>
              </a:buClr>
              <a:buSzPct val="90000"/>
              <a:buFont typeface="Arial" pitchFamily="34" charset="0"/>
              <a:buChar char="•"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319213" indent="-228600">
              <a:buClr>
                <a:schemeClr val="tx1"/>
              </a:buClr>
              <a:buSzPct val="90000"/>
              <a:buFont typeface="Arial" pitchFamily="34" charset="0"/>
              <a:buChar char="•"/>
              <a:defRPr sz="20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/>
              <a:t>Use this Layout for Speaker Notes slid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363076"/>
            <a:ext cx="12436476" cy="631450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700"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8348756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non-bullete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2851"/>
            <a:ext cx="11887200" cy="2025170"/>
          </a:xfrm>
        </p:spPr>
        <p:txBody>
          <a:bodyPr>
            <a:spAutoFit/>
          </a:bodyPr>
          <a:lstStyle>
            <a:lvl1pPr marL="0" indent="0">
              <a:buFontTx/>
              <a:buNone/>
              <a:defRPr sz="3599"/>
            </a:lvl1pPr>
            <a:lvl2pPr marL="342834" indent="0">
              <a:buFontTx/>
              <a:buNone/>
              <a:defRPr/>
            </a:lvl2pPr>
            <a:lvl3pPr marL="571390" indent="0">
              <a:buFontTx/>
              <a:buNone/>
              <a:defRPr/>
            </a:lvl3pPr>
            <a:lvl4pPr marL="799946" indent="0">
              <a:buFontTx/>
              <a:buNone/>
              <a:defRPr/>
            </a:lvl4pPr>
            <a:lvl5pPr marL="1028503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47063698"/>
      </p:ext>
    </p:extLst>
  </p:cSld>
  <p:clrMapOvr>
    <a:masterClrMapping/>
  </p:clrMapOvr>
  <p:transition>
    <p:fade/>
  </p:transition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2pt Title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274642" y="1139825"/>
            <a:ext cx="11033125" cy="574675"/>
          </a:xfrm>
          <a:prstGeom prst="rect">
            <a:avLst/>
          </a:prstGeom>
        </p:spPr>
        <p:txBody>
          <a:bodyPr lIns="192024"/>
          <a:lstStyle>
            <a:lvl1pPr marL="0" indent="0">
              <a:buNone/>
              <a:defRPr lang="en-US" sz="2800" kern="1200" smtClean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>
              <a:buNone/>
              <a:defRPr lang="en-US" sz="3170" kern="120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indent="0">
              <a:buNone/>
              <a:defRPr lang="en-US" sz="3170" kern="120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indent="0">
              <a:buNone/>
              <a:defRPr lang="en-US" sz="3170" kern="120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indent="0">
              <a:buNone/>
              <a:defRPr lang="en-US" sz="317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itle 2"/>
          <p:cNvSpPr>
            <a:spLocks noGrp="1"/>
          </p:cNvSpPr>
          <p:nvPr>
            <p:ph type="title"/>
          </p:nvPr>
        </p:nvSpPr>
        <p:spPr>
          <a:xfrm>
            <a:off x="274320" y="292082"/>
            <a:ext cx="11887200" cy="946413"/>
          </a:xfrm>
          <a:prstGeom prst="rect">
            <a:avLst/>
          </a:prstGeom>
        </p:spPr>
        <p:txBody>
          <a:bodyPr/>
          <a:lstStyle>
            <a:lvl1pPr algn="l">
              <a:defRPr sz="5199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rgbClr val="505050"/>
                </a:solidFill>
              </a:defRPr>
            </a:lvl1pPr>
          </a:lstStyle>
          <a:p>
            <a:pPr>
              <a:defRPr/>
            </a:pPr>
            <a:r>
              <a:t>Microsoft Confidential</a:t>
            </a: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fld id="{6052FC3A-E1BD-E54F-9A48-71EBDEF00552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4266565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7"/>
          <p:cNvSpPr txBox="1"/>
          <p:nvPr userDrawn="1"/>
        </p:nvSpPr>
        <p:spPr bwMode="white">
          <a:xfrm>
            <a:off x="4480570" y="6704327"/>
            <a:ext cx="3475341" cy="148188"/>
          </a:xfrm>
          <a:prstGeom prst="rect">
            <a:avLst/>
          </a:prstGeom>
          <a:noFill/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1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44" b="0" i="0" u="none" strike="noStrike" kern="1200" cap="none" spc="135" normalizeH="0" baseline="0" noProof="0" dirty="0">
                <a:ln>
                  <a:noFill/>
                </a:ln>
                <a:gradFill>
                  <a:gsLst>
                    <a:gs pos="0">
                      <a:srgbClr val="FFFFFF">
                        <a:alpha val="50000"/>
                      </a:srgbClr>
                    </a:gs>
                    <a:gs pos="86000">
                      <a:srgbClr val="FFFFFF">
                        <a:alpha val="5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Semibold" pitchFamily="34" charset="0"/>
                <a:ea typeface="+mn-ea"/>
                <a:cs typeface="+mn-cs"/>
              </a:rPr>
              <a:t>MICROSOFT CONFIDENTIAL – INTERNAL ONLY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40" y="1212852"/>
            <a:ext cx="11887200" cy="2092881"/>
          </a:xfrm>
        </p:spPr>
        <p:txBody>
          <a:bodyPr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6512190"/>
      </p:ext>
    </p:extLst>
  </p:cSld>
  <p:clrMapOvr>
    <a:masterClrMapping/>
  </p:clrMapOvr>
  <p:transition>
    <p:fade/>
  </p:transition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12436475" cy="1243471"/>
          </a:xfrm>
          <a:prstGeom prst="rect">
            <a:avLst/>
          </a:prstGeom>
          <a:solidFill>
            <a:srgbClr val="0A5BBA">
              <a:alpha val="89804"/>
            </a:srgbClr>
          </a:solidFill>
        </p:spPr>
        <p:txBody>
          <a:bodyPr lIns="182880" tIns="91440" rIns="91440" bIns="91440" anchor="ctr">
            <a:normAutofit/>
          </a:bodyPr>
          <a:lstStyle>
            <a:lvl1pPr>
              <a:defRPr sz="3264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4" name="Slide Number Placeholder 2"/>
          <p:cNvSpPr>
            <a:spLocks noGrp="1"/>
          </p:cNvSpPr>
          <p:nvPr>
            <p:ph type="sldNum" sz="quarter" idx="11"/>
          </p:nvPr>
        </p:nvSpPr>
        <p:spPr>
          <a:xfrm>
            <a:off x="9223719" y="6482890"/>
            <a:ext cx="2901844" cy="372394"/>
          </a:xfrm>
        </p:spPr>
        <p:txBody>
          <a:bodyPr/>
          <a:lstStyle>
            <a:lvl1pPr>
              <a:defRPr sz="1088">
                <a:solidFill>
                  <a:schemeClr val="tx1"/>
                </a:solidFill>
              </a:defRPr>
            </a:lvl1pPr>
          </a:lstStyle>
          <a:p>
            <a:fld id="{74A398B2-5A34-1A4A-811E-F4027282568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621824" y="1243471"/>
            <a:ext cx="11192828" cy="4973884"/>
          </a:xfrm>
          <a:noFill/>
        </p:spPr>
        <p:txBody>
          <a:bodyPr lIns="182880" tIns="91440" rIns="91440" bIns="91440">
            <a:normAutofit/>
          </a:bodyPr>
          <a:lstStyle>
            <a:lvl1pPr marL="310857" indent="-310857">
              <a:lnSpc>
                <a:spcPct val="100000"/>
              </a:lnSpc>
              <a:buFont typeface="Arial" pitchFamily="34" charset="0"/>
              <a:buChar char="•"/>
              <a:defRPr/>
            </a:lvl1pPr>
            <a:lvl2pPr marL="621716" indent="-306540">
              <a:lnSpc>
                <a:spcPct val="100000"/>
              </a:lnSpc>
              <a:buFont typeface="Arial" pitchFamily="34" charset="0"/>
              <a:buChar char="•"/>
              <a:defRPr/>
            </a:lvl2pPr>
            <a:lvl3pPr marL="932573" indent="-310857">
              <a:lnSpc>
                <a:spcPct val="100000"/>
              </a:lnSpc>
              <a:buFont typeface="Arial" pitchFamily="34" charset="0"/>
              <a:buChar char="•"/>
              <a:defRPr/>
            </a:lvl3pPr>
            <a:lvl4pPr marL="1243431" indent="-310857">
              <a:lnSpc>
                <a:spcPct val="100000"/>
              </a:lnSpc>
              <a:buFont typeface="Arial" pitchFamily="34" charset="0"/>
              <a:buChar char="•"/>
              <a:defRPr/>
            </a:lvl4pPr>
            <a:lvl5pPr marL="1554289" indent="-310857">
              <a:lnSpc>
                <a:spcPct val="100000"/>
              </a:lnSpc>
              <a:buFont typeface="Arial" pitchFamily="34" charset="0"/>
              <a:buChar char="•"/>
              <a:defRPr/>
            </a:lvl5pPr>
            <a:lvl6pPr>
              <a:lnSpc>
                <a:spcPct val="100000"/>
              </a:lnSpc>
              <a:defRPr/>
            </a:lvl6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</p:spTree>
    <p:extLst>
      <p:ext uri="{BB962C8B-B14F-4D97-AF65-F5344CB8AC3E}">
        <p14:creationId xmlns:p14="http://schemas.microsoft.com/office/powerpoint/2010/main" val="3980390588"/>
      </p:ext>
    </p:extLst>
  </p:cSld>
  <p:clrMapOvr>
    <a:masterClrMapping/>
  </p:clrMapOvr>
  <p:transition>
    <p:fade/>
  </p:transition>
  <p:hf hdr="0" ftr="0" dt="0"/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1209973"/>
            <a:ext cx="10056812" cy="108491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6499" spc="-10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639" y="3954463"/>
            <a:ext cx="10058401" cy="738664"/>
          </a:xfrm>
          <a:noFill/>
        </p:spPr>
        <p:txBody>
          <a:bodyPr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3199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71558624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invGray">
          <a:xfrm>
            <a:off x="457200" y="6121400"/>
            <a:ext cx="1828800" cy="393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274702" y="2125678"/>
            <a:ext cx="9143936" cy="1828786"/>
          </a:xfrm>
          <a:noFill/>
        </p:spPr>
        <p:txBody>
          <a:bodyPr anchorCtr="0"/>
          <a:lstStyle>
            <a:lvl1pPr>
              <a:defRPr sz="5400" spc="-10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74701" y="3955786"/>
            <a:ext cx="7315137" cy="1828007"/>
          </a:xfrm>
          <a:noFill/>
        </p:spPr>
        <p:txBody>
          <a:bodyPr tIns="109728" bIns="109728">
            <a:noAutofit/>
          </a:bodyPr>
          <a:lstStyle>
            <a:lvl1pPr marL="0" indent="0">
              <a:spcBef>
                <a:spcPts val="0"/>
              </a:spcBef>
              <a:buNone/>
              <a:defRPr sz="32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88957909"/>
      </p:ext>
    </p:extLst>
  </p:cSld>
  <p:clrMapOvr>
    <a:masterClrMapping/>
  </p:clrMapOvr>
  <p:transition spd="slow"/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Non-bulleted tex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74639" y="1212851"/>
            <a:ext cx="11887200" cy="2025170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1"/>
                    </a:gs>
                    <a:gs pos="99000">
                      <a:schemeClr val="tx1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2000"/>
            </a:lvl2pPr>
            <a:lvl3pPr marL="228557" indent="0">
              <a:buNone/>
              <a:defRPr/>
            </a:lvl3pPr>
            <a:lvl4pPr marL="457112" indent="0">
              <a:buNone/>
              <a:defRPr/>
            </a:lvl4pPr>
            <a:lvl5pPr marL="685669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4071952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2849"/>
            <a:ext cx="5486399" cy="2425279"/>
          </a:xfrm>
        </p:spPr>
        <p:txBody>
          <a:bodyPr wrap="square">
            <a:spAutoFit/>
          </a:bodyPr>
          <a:lstStyle>
            <a:lvl1pPr marL="287338" indent="-287338">
              <a:spcBef>
                <a:spcPts val="1224"/>
              </a:spcBef>
              <a:buClr>
                <a:schemeClr val="tx1"/>
              </a:buClr>
              <a:buFont typeface="Arial" pitchFamily="34" charset="0"/>
              <a:buChar char="•"/>
              <a:defRPr sz="3200"/>
            </a:lvl1pPr>
            <a:lvl2pPr marL="531166" indent="-233195">
              <a:defRPr sz="2400"/>
            </a:lvl2pPr>
            <a:lvl3pPr marL="699585" indent="-168419">
              <a:tabLst/>
              <a:defRPr sz="2000"/>
            </a:lvl3pPr>
            <a:lvl4pPr marL="880958" indent="-181374">
              <a:defRPr/>
            </a:lvl4pPr>
            <a:lvl5pPr marL="1049377" indent="-168419"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2849"/>
            <a:ext cx="5486399" cy="2425279"/>
          </a:xfrm>
        </p:spPr>
        <p:txBody>
          <a:bodyPr wrap="square">
            <a:spAutoFit/>
          </a:bodyPr>
          <a:lstStyle>
            <a:lvl1pPr marL="287338" indent="-287338">
              <a:spcBef>
                <a:spcPts val="1224"/>
              </a:spcBef>
              <a:buClr>
                <a:schemeClr val="tx1"/>
              </a:buClr>
              <a:buFont typeface="Arial" pitchFamily="34" charset="0"/>
              <a:buChar char="•"/>
              <a:defRPr sz="3200"/>
            </a:lvl1pPr>
            <a:lvl2pPr marL="531166" indent="-233195">
              <a:defRPr sz="2400"/>
            </a:lvl2pPr>
            <a:lvl3pPr marL="699585" indent="-168419">
              <a:tabLst/>
              <a:defRPr sz="2000"/>
            </a:lvl3pPr>
            <a:lvl4pPr marL="880958" indent="-181374">
              <a:defRPr/>
            </a:lvl4pPr>
            <a:lvl5pPr marL="1049377" indent="-168419"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7994670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74640" y="1212852"/>
            <a:ext cx="11887200" cy="2091819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1"/>
                    </a:gs>
                    <a:gs pos="99000">
                      <a:schemeClr val="tx1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2000"/>
            </a:lvl2pPr>
            <a:lvl3pPr marL="228532" indent="0">
              <a:buNone/>
              <a:defRPr/>
            </a:lvl3pPr>
            <a:lvl4pPr marL="457064" indent="0">
              <a:buNone/>
              <a:defRPr/>
            </a:lvl4pPr>
            <a:lvl5pPr marL="685596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470126588"/>
      </p:ext>
    </p:extLst>
  </p:cSld>
  <p:clrMapOvr>
    <a:masterClrMapping/>
  </p:clrMapOvr>
  <p:transition>
    <p:fade/>
  </p:transition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nnouncing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075399" y="2284961"/>
            <a:ext cx="7086439" cy="1015663"/>
          </a:xfrm>
          <a:noFill/>
        </p:spPr>
        <p:txBody>
          <a:bodyPr wrap="square" tIns="91440" bIns="91440" anchor="b" anchorCtr="0">
            <a:spAutoFit/>
          </a:bodyPr>
          <a:lstStyle>
            <a:lvl1pPr>
              <a:defRPr sz="6000" spc="-10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Announcing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096036" y="3768007"/>
            <a:ext cx="7087559" cy="683264"/>
          </a:xfrm>
          <a:noFill/>
        </p:spPr>
        <p:txBody>
          <a:bodyPr wrap="square"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28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lvl="0"/>
            <a:r>
              <a:rPr lang="en-US" dirty="0"/>
              <a:t>Content placeholder</a:t>
            </a:r>
          </a:p>
        </p:txBody>
      </p:sp>
    </p:spTree>
    <p:extLst>
      <p:ext uri="{BB962C8B-B14F-4D97-AF65-F5344CB8AC3E}">
        <p14:creationId xmlns:p14="http://schemas.microsoft.com/office/powerpoint/2010/main" val="403401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42" presetClass="path" presetSubtype="0" decel="100000" fill="hold" grpId="1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-0.03944 -0.00046 L -4.28389E-6 2.19246E-6 " pathEditMode="relative" rAng="0" ptsTypes="AA">
                                      <p:cBhvr>
                                        <p:cTn id="12" dur="6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966" y="23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5" grpId="0">
        <p:tmplLst>
          <p:tmpl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" grpId="1">
        <p:tmplLst>
          <p:tmpl>
            <p:tnLst>
              <p:par>
                <p:cTn presetID="42" presetClass="path" presetSubtype="0" decel="100000" fill="hold" nodeType="withEffect">
                  <p:stCondLst>
                    <p:cond delay="500"/>
                  </p:stCondLst>
                  <p:childTnLst>
                    <p:animMotion origin="layout" path="M -0.03944 -0.00046 L -4.28389E-6 2.19246E-6 " pathEditMode="relative" rAng="0" ptsTypes="AA">
                      <p:cBhvr>
                        <p:cTn dur="600" fill="hold"/>
                        <p:tgtEl>
                          <p:spTgt spid="5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1966" y="23"/>
                    </p:animMotion>
                  </p:childTnLst>
                </p:cTn>
              </p:par>
            </p:tnLst>
          </p:tmpl>
        </p:tmplLst>
      </p:bldP>
    </p:bldLst>
  </p:timing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Subtitle, and Content - NO LOGO &amp; PAGE 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436475" cy="699452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4823" y="749322"/>
            <a:ext cx="11306829" cy="669661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80369" y="2383223"/>
            <a:ext cx="11275737" cy="1189043"/>
          </a:xfrm>
        </p:spPr>
        <p:txBody>
          <a:bodyPr/>
          <a:lstStyle>
            <a:lvl1pPr marL="0" indent="0">
              <a:buClr>
                <a:schemeClr val="bg2"/>
              </a:buClr>
              <a:buSzPct val="100000"/>
              <a:buFontTx/>
              <a:buNone/>
              <a:defRPr sz="2266">
                <a:solidFill>
                  <a:schemeClr val="bg1"/>
                </a:solidFill>
              </a:defRPr>
            </a:lvl1pPr>
            <a:lvl2pPr marL="647624" indent="0">
              <a:buClr>
                <a:schemeClr val="bg2"/>
              </a:buClr>
              <a:buSzPct val="100000"/>
              <a:buFontTx/>
              <a:buNone/>
              <a:defRPr sz="2040">
                <a:solidFill>
                  <a:schemeClr val="bg1"/>
                </a:solidFill>
              </a:defRPr>
            </a:lvl2pPr>
            <a:lvl3pPr marL="1234083" indent="0">
              <a:buClr>
                <a:schemeClr val="bg2"/>
              </a:buClr>
              <a:buSzPct val="100000"/>
              <a:buFontTx/>
              <a:buNone/>
              <a:defRPr sz="2040">
                <a:solidFill>
                  <a:schemeClr val="bg1"/>
                </a:solidFill>
              </a:defRPr>
            </a:lvl3pPr>
            <a:lvl4pPr marL="2011232" indent="-259050">
              <a:buClr>
                <a:schemeClr val="bg2"/>
              </a:buClr>
              <a:buFont typeface="Wingdings" panose="05000000000000000000" pitchFamily="2" charset="2"/>
              <a:buChar char="§"/>
              <a:defRPr sz="2040">
                <a:solidFill>
                  <a:schemeClr val="tx1"/>
                </a:solidFill>
              </a:defRPr>
            </a:lvl4pPr>
            <a:lvl5pPr marL="2399806" indent="-259050">
              <a:buClr>
                <a:schemeClr val="bg2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64823" y="1340989"/>
            <a:ext cx="11306829" cy="561372"/>
          </a:xfrm>
        </p:spPr>
        <p:txBody>
          <a:bodyPr/>
          <a:lstStyle>
            <a:lvl1pPr marL="0" indent="0" algn="ctr">
              <a:buFontTx/>
              <a:buNone/>
              <a:defRPr sz="2720" b="0">
                <a:solidFill>
                  <a:schemeClr val="tx2"/>
                </a:solidFill>
                <a:latin typeface="Trebuchet MS" panose="020B0603020202020204" pitchFamily="34" charset="0"/>
              </a:defRPr>
            </a:lvl1pPr>
            <a:lvl2pPr marL="647624" indent="0" algn="ctr">
              <a:buFontTx/>
              <a:buNone/>
              <a:defRPr sz="3173">
                <a:solidFill>
                  <a:schemeClr val="tx2"/>
                </a:solidFill>
                <a:latin typeface="Trebuchet MS" panose="020B0603020202020204" pitchFamily="34" charset="0"/>
              </a:defRPr>
            </a:lvl2pPr>
            <a:lvl3pPr marL="1234083" indent="0" algn="ctr">
              <a:buFontTx/>
              <a:buNone/>
              <a:defRPr sz="3173">
                <a:solidFill>
                  <a:schemeClr val="tx2"/>
                </a:solidFill>
                <a:latin typeface="Trebuchet MS" panose="020B0603020202020204" pitchFamily="34" charset="0"/>
              </a:defRPr>
            </a:lvl3pPr>
            <a:lvl4pPr marL="1752182" indent="0" algn="ctr">
              <a:buFontTx/>
              <a:buNone/>
              <a:defRPr sz="3173">
                <a:solidFill>
                  <a:schemeClr val="tx2"/>
                </a:solidFill>
                <a:latin typeface="Trebuchet MS" panose="020B0603020202020204" pitchFamily="34" charset="0"/>
              </a:defRPr>
            </a:lvl4pPr>
            <a:lvl5pPr marL="2140756" indent="0" algn="ctr">
              <a:buFontTx/>
              <a:buNone/>
              <a:defRPr sz="3173">
                <a:solidFill>
                  <a:schemeClr val="tx2"/>
                </a:solidFill>
                <a:latin typeface="Trebuchet MS" panose="020B0603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6" name="Group 5"/>
          <p:cNvGrpSpPr/>
          <p:nvPr userDrawn="1"/>
        </p:nvGrpSpPr>
        <p:grpSpPr>
          <a:xfrm>
            <a:off x="11508121" y="6647998"/>
            <a:ext cx="661336" cy="122141"/>
            <a:chOff x="677492" y="-1417931"/>
            <a:chExt cx="3154606" cy="582700"/>
          </a:xfrm>
        </p:grpSpPr>
        <p:sp>
          <p:nvSpPr>
            <p:cNvPr id="7" name="Freeform 5"/>
            <p:cNvSpPr>
              <a:spLocks noEditPoints="1"/>
            </p:cNvSpPr>
            <p:nvPr userDrawn="1"/>
          </p:nvSpPr>
          <p:spPr bwMode="auto">
            <a:xfrm>
              <a:off x="3761772" y="-980905"/>
              <a:ext cx="70326" cy="68652"/>
            </a:xfrm>
            <a:custGeom>
              <a:avLst/>
              <a:gdLst>
                <a:gd name="T0" fmla="*/ 36 w 87"/>
                <a:gd name="T1" fmla="*/ 37 h 83"/>
                <a:gd name="T2" fmla="*/ 36 w 87"/>
                <a:gd name="T3" fmla="*/ 26 h 83"/>
                <a:gd name="T4" fmla="*/ 43 w 87"/>
                <a:gd name="T5" fmla="*/ 26 h 83"/>
                <a:gd name="T6" fmla="*/ 52 w 87"/>
                <a:gd name="T7" fmla="*/ 31 h 83"/>
                <a:gd name="T8" fmla="*/ 45 w 87"/>
                <a:gd name="T9" fmla="*/ 37 h 83"/>
                <a:gd name="T10" fmla="*/ 36 w 87"/>
                <a:gd name="T11" fmla="*/ 37 h 83"/>
                <a:gd name="T12" fmla="*/ 36 w 87"/>
                <a:gd name="T13" fmla="*/ 45 h 83"/>
                <a:gd name="T14" fmla="*/ 41 w 87"/>
                <a:gd name="T15" fmla="*/ 45 h 83"/>
                <a:gd name="T16" fmla="*/ 52 w 87"/>
                <a:gd name="T17" fmla="*/ 63 h 83"/>
                <a:gd name="T18" fmla="*/ 63 w 87"/>
                <a:gd name="T19" fmla="*/ 63 h 83"/>
                <a:gd name="T20" fmla="*/ 52 w 87"/>
                <a:gd name="T21" fmla="*/ 44 h 83"/>
                <a:gd name="T22" fmla="*/ 63 w 87"/>
                <a:gd name="T23" fmla="*/ 32 h 83"/>
                <a:gd name="T24" fmla="*/ 44 w 87"/>
                <a:gd name="T25" fmla="*/ 19 h 83"/>
                <a:gd name="T26" fmla="*/ 26 w 87"/>
                <a:gd name="T27" fmla="*/ 19 h 83"/>
                <a:gd name="T28" fmla="*/ 26 w 87"/>
                <a:gd name="T29" fmla="*/ 63 h 83"/>
                <a:gd name="T30" fmla="*/ 36 w 87"/>
                <a:gd name="T31" fmla="*/ 63 h 83"/>
                <a:gd name="T32" fmla="*/ 36 w 87"/>
                <a:gd name="T33" fmla="*/ 45 h 83"/>
                <a:gd name="T34" fmla="*/ 87 w 87"/>
                <a:gd name="T35" fmla="*/ 41 h 83"/>
                <a:gd name="T36" fmla="*/ 44 w 87"/>
                <a:gd name="T37" fmla="*/ 0 h 83"/>
                <a:gd name="T38" fmla="*/ 0 w 87"/>
                <a:gd name="T39" fmla="*/ 41 h 83"/>
                <a:gd name="T40" fmla="*/ 44 w 87"/>
                <a:gd name="T41" fmla="*/ 83 h 83"/>
                <a:gd name="T42" fmla="*/ 87 w 87"/>
                <a:gd name="T43" fmla="*/ 41 h 83"/>
                <a:gd name="T44" fmla="*/ 74 w 87"/>
                <a:gd name="T45" fmla="*/ 41 h 83"/>
                <a:gd name="T46" fmla="*/ 44 w 87"/>
                <a:gd name="T47" fmla="*/ 73 h 83"/>
                <a:gd name="T48" fmla="*/ 44 w 87"/>
                <a:gd name="T49" fmla="*/ 73 h 83"/>
                <a:gd name="T50" fmla="*/ 13 w 87"/>
                <a:gd name="T51" fmla="*/ 41 h 83"/>
                <a:gd name="T52" fmla="*/ 44 w 87"/>
                <a:gd name="T53" fmla="*/ 9 h 83"/>
                <a:gd name="T54" fmla="*/ 74 w 87"/>
                <a:gd name="T55" fmla="*/ 41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7" h="83">
                  <a:moveTo>
                    <a:pt x="36" y="37"/>
                  </a:moveTo>
                  <a:cubicBezTo>
                    <a:pt x="36" y="26"/>
                    <a:pt x="36" y="26"/>
                    <a:pt x="36" y="26"/>
                  </a:cubicBezTo>
                  <a:cubicBezTo>
                    <a:pt x="43" y="26"/>
                    <a:pt x="43" y="26"/>
                    <a:pt x="43" y="26"/>
                  </a:cubicBezTo>
                  <a:cubicBezTo>
                    <a:pt x="47" y="26"/>
                    <a:pt x="52" y="27"/>
                    <a:pt x="52" y="31"/>
                  </a:cubicBezTo>
                  <a:cubicBezTo>
                    <a:pt x="52" y="36"/>
                    <a:pt x="50" y="37"/>
                    <a:pt x="45" y="37"/>
                  </a:cubicBezTo>
                  <a:cubicBezTo>
                    <a:pt x="36" y="37"/>
                    <a:pt x="36" y="37"/>
                    <a:pt x="36" y="37"/>
                  </a:cubicBezTo>
                  <a:moveTo>
                    <a:pt x="36" y="45"/>
                  </a:moveTo>
                  <a:cubicBezTo>
                    <a:pt x="41" y="45"/>
                    <a:pt x="41" y="45"/>
                    <a:pt x="41" y="45"/>
                  </a:cubicBezTo>
                  <a:cubicBezTo>
                    <a:pt x="52" y="63"/>
                    <a:pt x="52" y="63"/>
                    <a:pt x="52" y="63"/>
                  </a:cubicBezTo>
                  <a:cubicBezTo>
                    <a:pt x="63" y="63"/>
                    <a:pt x="63" y="63"/>
                    <a:pt x="63" y="63"/>
                  </a:cubicBezTo>
                  <a:cubicBezTo>
                    <a:pt x="52" y="44"/>
                    <a:pt x="52" y="44"/>
                    <a:pt x="52" y="44"/>
                  </a:cubicBezTo>
                  <a:cubicBezTo>
                    <a:pt x="58" y="43"/>
                    <a:pt x="63" y="41"/>
                    <a:pt x="63" y="32"/>
                  </a:cubicBezTo>
                  <a:cubicBezTo>
                    <a:pt x="63" y="22"/>
                    <a:pt x="56" y="19"/>
                    <a:pt x="44" y="19"/>
                  </a:cubicBezTo>
                  <a:cubicBezTo>
                    <a:pt x="26" y="19"/>
                    <a:pt x="26" y="19"/>
                    <a:pt x="26" y="19"/>
                  </a:cubicBezTo>
                  <a:cubicBezTo>
                    <a:pt x="26" y="63"/>
                    <a:pt x="26" y="63"/>
                    <a:pt x="26" y="63"/>
                  </a:cubicBezTo>
                  <a:cubicBezTo>
                    <a:pt x="36" y="63"/>
                    <a:pt x="36" y="63"/>
                    <a:pt x="36" y="63"/>
                  </a:cubicBezTo>
                  <a:cubicBezTo>
                    <a:pt x="36" y="45"/>
                    <a:pt x="36" y="45"/>
                    <a:pt x="36" y="45"/>
                  </a:cubicBezTo>
                  <a:moveTo>
                    <a:pt x="87" y="41"/>
                  </a:moveTo>
                  <a:cubicBezTo>
                    <a:pt x="87" y="15"/>
                    <a:pt x="66" y="0"/>
                    <a:pt x="44" y="0"/>
                  </a:cubicBezTo>
                  <a:cubicBezTo>
                    <a:pt x="21" y="0"/>
                    <a:pt x="0" y="15"/>
                    <a:pt x="0" y="41"/>
                  </a:cubicBezTo>
                  <a:cubicBezTo>
                    <a:pt x="0" y="67"/>
                    <a:pt x="21" y="83"/>
                    <a:pt x="44" y="83"/>
                  </a:cubicBezTo>
                  <a:cubicBezTo>
                    <a:pt x="66" y="83"/>
                    <a:pt x="87" y="67"/>
                    <a:pt x="87" y="41"/>
                  </a:cubicBezTo>
                  <a:moveTo>
                    <a:pt x="74" y="41"/>
                  </a:moveTo>
                  <a:cubicBezTo>
                    <a:pt x="74" y="60"/>
                    <a:pt x="60" y="73"/>
                    <a:pt x="44" y="73"/>
                  </a:cubicBezTo>
                  <a:cubicBezTo>
                    <a:pt x="44" y="73"/>
                    <a:pt x="44" y="73"/>
                    <a:pt x="44" y="73"/>
                  </a:cubicBezTo>
                  <a:cubicBezTo>
                    <a:pt x="26" y="73"/>
                    <a:pt x="13" y="60"/>
                    <a:pt x="13" y="41"/>
                  </a:cubicBezTo>
                  <a:cubicBezTo>
                    <a:pt x="13" y="22"/>
                    <a:pt x="26" y="9"/>
                    <a:pt x="44" y="9"/>
                  </a:cubicBezTo>
                  <a:cubicBezTo>
                    <a:pt x="60" y="9"/>
                    <a:pt x="74" y="22"/>
                    <a:pt x="74" y="4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" name="Freeform 6"/>
            <p:cNvSpPr>
              <a:spLocks noEditPoints="1"/>
            </p:cNvSpPr>
            <p:nvPr userDrawn="1"/>
          </p:nvSpPr>
          <p:spPr bwMode="auto">
            <a:xfrm>
              <a:off x="1700563" y="-1309093"/>
              <a:ext cx="2039443" cy="385118"/>
            </a:xfrm>
            <a:custGeom>
              <a:avLst/>
              <a:gdLst>
                <a:gd name="T0" fmla="*/ 1048 w 2520"/>
                <a:gd name="T1" fmla="*/ 0 h 472"/>
                <a:gd name="T2" fmla="*/ 1048 w 2520"/>
                <a:gd name="T3" fmla="*/ 472 h 472"/>
                <a:gd name="T4" fmla="*/ 1181 w 2520"/>
                <a:gd name="T5" fmla="*/ 472 h 472"/>
                <a:gd name="T6" fmla="*/ 1181 w 2520"/>
                <a:gd name="T7" fmla="*/ 0 h 472"/>
                <a:gd name="T8" fmla="*/ 1048 w 2520"/>
                <a:gd name="T9" fmla="*/ 0 h 472"/>
                <a:gd name="T10" fmla="*/ 0 w 2520"/>
                <a:gd name="T11" fmla="*/ 0 h 472"/>
                <a:gd name="T12" fmla="*/ 0 w 2520"/>
                <a:gd name="T13" fmla="*/ 472 h 472"/>
                <a:gd name="T14" fmla="*/ 134 w 2520"/>
                <a:gd name="T15" fmla="*/ 472 h 472"/>
                <a:gd name="T16" fmla="*/ 134 w 2520"/>
                <a:gd name="T17" fmla="*/ 105 h 472"/>
                <a:gd name="T18" fmla="*/ 239 w 2520"/>
                <a:gd name="T19" fmla="*/ 106 h 472"/>
                <a:gd name="T20" fmla="*/ 314 w 2520"/>
                <a:gd name="T21" fmla="*/ 132 h 472"/>
                <a:gd name="T22" fmla="*/ 344 w 2520"/>
                <a:gd name="T23" fmla="*/ 257 h 472"/>
                <a:gd name="T24" fmla="*/ 344 w 2520"/>
                <a:gd name="T25" fmla="*/ 472 h 472"/>
                <a:gd name="T26" fmla="*/ 474 w 2520"/>
                <a:gd name="T27" fmla="*/ 472 h 472"/>
                <a:gd name="T28" fmla="*/ 474 w 2520"/>
                <a:gd name="T29" fmla="*/ 211 h 472"/>
                <a:gd name="T30" fmla="*/ 239 w 2520"/>
                <a:gd name="T31" fmla="*/ 0 h 472"/>
                <a:gd name="T32" fmla="*/ 0 w 2520"/>
                <a:gd name="T33" fmla="*/ 0 h 472"/>
                <a:gd name="T34" fmla="*/ 1262 w 2520"/>
                <a:gd name="T35" fmla="*/ 0 h 472"/>
                <a:gd name="T36" fmla="*/ 1262 w 2520"/>
                <a:gd name="T37" fmla="*/ 472 h 472"/>
                <a:gd name="T38" fmla="*/ 1479 w 2520"/>
                <a:gd name="T39" fmla="*/ 472 h 472"/>
                <a:gd name="T40" fmla="*/ 1672 w 2520"/>
                <a:gd name="T41" fmla="*/ 410 h 472"/>
                <a:gd name="T42" fmla="*/ 1719 w 2520"/>
                <a:gd name="T43" fmla="*/ 242 h 472"/>
                <a:gd name="T44" fmla="*/ 1676 w 2520"/>
                <a:gd name="T45" fmla="*/ 79 h 472"/>
                <a:gd name="T46" fmla="*/ 1449 w 2520"/>
                <a:gd name="T47" fmla="*/ 0 h 472"/>
                <a:gd name="T48" fmla="*/ 1262 w 2520"/>
                <a:gd name="T49" fmla="*/ 0 h 472"/>
                <a:gd name="T50" fmla="*/ 1395 w 2520"/>
                <a:gd name="T51" fmla="*/ 103 h 472"/>
                <a:gd name="T52" fmla="*/ 1452 w 2520"/>
                <a:gd name="T53" fmla="*/ 103 h 472"/>
                <a:gd name="T54" fmla="*/ 1589 w 2520"/>
                <a:gd name="T55" fmla="*/ 237 h 472"/>
                <a:gd name="T56" fmla="*/ 1452 w 2520"/>
                <a:gd name="T57" fmla="*/ 372 h 472"/>
                <a:gd name="T58" fmla="*/ 1395 w 2520"/>
                <a:gd name="T59" fmla="*/ 372 h 472"/>
                <a:gd name="T60" fmla="*/ 1395 w 2520"/>
                <a:gd name="T61" fmla="*/ 103 h 472"/>
                <a:gd name="T62" fmla="*/ 856 w 2520"/>
                <a:gd name="T63" fmla="*/ 0 h 472"/>
                <a:gd name="T64" fmla="*/ 745 w 2520"/>
                <a:gd name="T65" fmla="*/ 374 h 472"/>
                <a:gd name="T66" fmla="*/ 638 w 2520"/>
                <a:gd name="T67" fmla="*/ 0 h 472"/>
                <a:gd name="T68" fmla="*/ 494 w 2520"/>
                <a:gd name="T69" fmla="*/ 0 h 472"/>
                <a:gd name="T70" fmla="*/ 646 w 2520"/>
                <a:gd name="T71" fmla="*/ 472 h 472"/>
                <a:gd name="T72" fmla="*/ 838 w 2520"/>
                <a:gd name="T73" fmla="*/ 472 h 472"/>
                <a:gd name="T74" fmla="*/ 992 w 2520"/>
                <a:gd name="T75" fmla="*/ 0 h 472"/>
                <a:gd name="T76" fmla="*/ 856 w 2520"/>
                <a:gd name="T77" fmla="*/ 0 h 472"/>
                <a:gd name="T78" fmla="*/ 1781 w 2520"/>
                <a:gd name="T79" fmla="*/ 472 h 472"/>
                <a:gd name="T80" fmla="*/ 1915 w 2520"/>
                <a:gd name="T81" fmla="*/ 472 h 472"/>
                <a:gd name="T82" fmla="*/ 1915 w 2520"/>
                <a:gd name="T83" fmla="*/ 0 h 472"/>
                <a:gd name="T84" fmla="*/ 1781 w 2520"/>
                <a:gd name="T85" fmla="*/ 0 h 472"/>
                <a:gd name="T86" fmla="*/ 1781 w 2520"/>
                <a:gd name="T87" fmla="*/ 472 h 472"/>
                <a:gd name="T88" fmla="*/ 2155 w 2520"/>
                <a:gd name="T89" fmla="*/ 1 h 472"/>
                <a:gd name="T90" fmla="*/ 1969 w 2520"/>
                <a:gd name="T91" fmla="*/ 472 h 472"/>
                <a:gd name="T92" fmla="*/ 2100 w 2520"/>
                <a:gd name="T93" fmla="*/ 472 h 472"/>
                <a:gd name="T94" fmla="*/ 2130 w 2520"/>
                <a:gd name="T95" fmla="*/ 389 h 472"/>
                <a:gd name="T96" fmla="*/ 2350 w 2520"/>
                <a:gd name="T97" fmla="*/ 389 h 472"/>
                <a:gd name="T98" fmla="*/ 2378 w 2520"/>
                <a:gd name="T99" fmla="*/ 472 h 472"/>
                <a:gd name="T100" fmla="*/ 2520 w 2520"/>
                <a:gd name="T101" fmla="*/ 472 h 472"/>
                <a:gd name="T102" fmla="*/ 2333 w 2520"/>
                <a:gd name="T103" fmla="*/ 1 h 472"/>
                <a:gd name="T104" fmla="*/ 2155 w 2520"/>
                <a:gd name="T105" fmla="*/ 1 h 472"/>
                <a:gd name="T106" fmla="*/ 2241 w 2520"/>
                <a:gd name="T107" fmla="*/ 87 h 472"/>
                <a:gd name="T108" fmla="*/ 2322 w 2520"/>
                <a:gd name="T109" fmla="*/ 307 h 472"/>
                <a:gd name="T110" fmla="*/ 2158 w 2520"/>
                <a:gd name="T111" fmla="*/ 307 h 472"/>
                <a:gd name="T112" fmla="*/ 2241 w 2520"/>
                <a:gd name="T113" fmla="*/ 87 h 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520" h="472">
                  <a:moveTo>
                    <a:pt x="1048" y="0"/>
                  </a:moveTo>
                  <a:cubicBezTo>
                    <a:pt x="1048" y="472"/>
                    <a:pt x="1048" y="472"/>
                    <a:pt x="1048" y="472"/>
                  </a:cubicBezTo>
                  <a:cubicBezTo>
                    <a:pt x="1181" y="472"/>
                    <a:pt x="1181" y="472"/>
                    <a:pt x="1181" y="472"/>
                  </a:cubicBezTo>
                  <a:cubicBezTo>
                    <a:pt x="1181" y="0"/>
                    <a:pt x="1181" y="0"/>
                    <a:pt x="1181" y="0"/>
                  </a:cubicBezTo>
                  <a:lnTo>
                    <a:pt x="1048" y="0"/>
                  </a:lnTo>
                  <a:close/>
                  <a:moveTo>
                    <a:pt x="0" y="0"/>
                  </a:moveTo>
                  <a:cubicBezTo>
                    <a:pt x="0" y="472"/>
                    <a:pt x="0" y="472"/>
                    <a:pt x="0" y="472"/>
                  </a:cubicBezTo>
                  <a:cubicBezTo>
                    <a:pt x="134" y="472"/>
                    <a:pt x="134" y="472"/>
                    <a:pt x="134" y="472"/>
                  </a:cubicBezTo>
                  <a:cubicBezTo>
                    <a:pt x="134" y="105"/>
                    <a:pt x="134" y="105"/>
                    <a:pt x="134" y="105"/>
                  </a:cubicBezTo>
                  <a:cubicBezTo>
                    <a:pt x="239" y="106"/>
                    <a:pt x="239" y="106"/>
                    <a:pt x="239" y="106"/>
                  </a:cubicBezTo>
                  <a:cubicBezTo>
                    <a:pt x="273" y="106"/>
                    <a:pt x="297" y="114"/>
                    <a:pt x="314" y="132"/>
                  </a:cubicBezTo>
                  <a:cubicBezTo>
                    <a:pt x="335" y="154"/>
                    <a:pt x="344" y="191"/>
                    <a:pt x="344" y="257"/>
                  </a:cubicBezTo>
                  <a:cubicBezTo>
                    <a:pt x="344" y="472"/>
                    <a:pt x="344" y="472"/>
                    <a:pt x="344" y="472"/>
                  </a:cubicBezTo>
                  <a:cubicBezTo>
                    <a:pt x="474" y="472"/>
                    <a:pt x="474" y="472"/>
                    <a:pt x="474" y="472"/>
                  </a:cubicBezTo>
                  <a:cubicBezTo>
                    <a:pt x="474" y="211"/>
                    <a:pt x="474" y="211"/>
                    <a:pt x="474" y="211"/>
                  </a:cubicBezTo>
                  <a:cubicBezTo>
                    <a:pt x="474" y="25"/>
                    <a:pt x="355" y="0"/>
                    <a:pt x="239" y="0"/>
                  </a:cubicBezTo>
                  <a:lnTo>
                    <a:pt x="0" y="0"/>
                  </a:lnTo>
                  <a:close/>
                  <a:moveTo>
                    <a:pt x="1262" y="0"/>
                  </a:moveTo>
                  <a:cubicBezTo>
                    <a:pt x="1262" y="472"/>
                    <a:pt x="1262" y="472"/>
                    <a:pt x="1262" y="472"/>
                  </a:cubicBezTo>
                  <a:cubicBezTo>
                    <a:pt x="1479" y="472"/>
                    <a:pt x="1479" y="472"/>
                    <a:pt x="1479" y="472"/>
                  </a:cubicBezTo>
                  <a:cubicBezTo>
                    <a:pt x="1594" y="472"/>
                    <a:pt x="1631" y="453"/>
                    <a:pt x="1672" y="410"/>
                  </a:cubicBezTo>
                  <a:cubicBezTo>
                    <a:pt x="1701" y="380"/>
                    <a:pt x="1719" y="314"/>
                    <a:pt x="1719" y="242"/>
                  </a:cubicBezTo>
                  <a:cubicBezTo>
                    <a:pt x="1719" y="175"/>
                    <a:pt x="1704" y="116"/>
                    <a:pt x="1676" y="79"/>
                  </a:cubicBezTo>
                  <a:cubicBezTo>
                    <a:pt x="1627" y="13"/>
                    <a:pt x="1556" y="0"/>
                    <a:pt x="1449" y="0"/>
                  </a:cubicBezTo>
                  <a:lnTo>
                    <a:pt x="1262" y="0"/>
                  </a:lnTo>
                  <a:close/>
                  <a:moveTo>
                    <a:pt x="1395" y="103"/>
                  </a:moveTo>
                  <a:cubicBezTo>
                    <a:pt x="1452" y="103"/>
                    <a:pt x="1452" y="103"/>
                    <a:pt x="1452" y="103"/>
                  </a:cubicBezTo>
                  <a:cubicBezTo>
                    <a:pt x="1535" y="103"/>
                    <a:pt x="1589" y="140"/>
                    <a:pt x="1589" y="237"/>
                  </a:cubicBezTo>
                  <a:cubicBezTo>
                    <a:pt x="1589" y="334"/>
                    <a:pt x="1535" y="372"/>
                    <a:pt x="1452" y="372"/>
                  </a:cubicBezTo>
                  <a:cubicBezTo>
                    <a:pt x="1395" y="372"/>
                    <a:pt x="1395" y="372"/>
                    <a:pt x="1395" y="372"/>
                  </a:cubicBezTo>
                  <a:lnTo>
                    <a:pt x="1395" y="103"/>
                  </a:lnTo>
                  <a:close/>
                  <a:moveTo>
                    <a:pt x="856" y="0"/>
                  </a:moveTo>
                  <a:cubicBezTo>
                    <a:pt x="745" y="374"/>
                    <a:pt x="745" y="374"/>
                    <a:pt x="745" y="374"/>
                  </a:cubicBezTo>
                  <a:cubicBezTo>
                    <a:pt x="638" y="0"/>
                    <a:pt x="638" y="0"/>
                    <a:pt x="638" y="0"/>
                  </a:cubicBezTo>
                  <a:cubicBezTo>
                    <a:pt x="494" y="0"/>
                    <a:pt x="494" y="0"/>
                    <a:pt x="494" y="0"/>
                  </a:cubicBezTo>
                  <a:cubicBezTo>
                    <a:pt x="646" y="472"/>
                    <a:pt x="646" y="472"/>
                    <a:pt x="646" y="472"/>
                  </a:cubicBezTo>
                  <a:cubicBezTo>
                    <a:pt x="838" y="472"/>
                    <a:pt x="838" y="472"/>
                    <a:pt x="838" y="472"/>
                  </a:cubicBezTo>
                  <a:cubicBezTo>
                    <a:pt x="992" y="0"/>
                    <a:pt x="992" y="0"/>
                    <a:pt x="992" y="0"/>
                  </a:cubicBezTo>
                  <a:lnTo>
                    <a:pt x="856" y="0"/>
                  </a:lnTo>
                  <a:close/>
                  <a:moveTo>
                    <a:pt x="1781" y="472"/>
                  </a:moveTo>
                  <a:cubicBezTo>
                    <a:pt x="1915" y="472"/>
                    <a:pt x="1915" y="472"/>
                    <a:pt x="1915" y="472"/>
                  </a:cubicBezTo>
                  <a:cubicBezTo>
                    <a:pt x="1915" y="0"/>
                    <a:pt x="1915" y="0"/>
                    <a:pt x="1915" y="0"/>
                  </a:cubicBezTo>
                  <a:cubicBezTo>
                    <a:pt x="1781" y="0"/>
                    <a:pt x="1781" y="0"/>
                    <a:pt x="1781" y="0"/>
                  </a:cubicBezTo>
                  <a:lnTo>
                    <a:pt x="1781" y="472"/>
                  </a:lnTo>
                  <a:close/>
                  <a:moveTo>
                    <a:pt x="2155" y="1"/>
                  </a:moveTo>
                  <a:cubicBezTo>
                    <a:pt x="1969" y="472"/>
                    <a:pt x="1969" y="472"/>
                    <a:pt x="1969" y="472"/>
                  </a:cubicBezTo>
                  <a:cubicBezTo>
                    <a:pt x="2100" y="472"/>
                    <a:pt x="2100" y="472"/>
                    <a:pt x="2100" y="472"/>
                  </a:cubicBezTo>
                  <a:cubicBezTo>
                    <a:pt x="2130" y="389"/>
                    <a:pt x="2130" y="389"/>
                    <a:pt x="2130" y="389"/>
                  </a:cubicBezTo>
                  <a:cubicBezTo>
                    <a:pt x="2350" y="389"/>
                    <a:pt x="2350" y="389"/>
                    <a:pt x="2350" y="389"/>
                  </a:cubicBezTo>
                  <a:cubicBezTo>
                    <a:pt x="2378" y="472"/>
                    <a:pt x="2378" y="472"/>
                    <a:pt x="2378" y="472"/>
                  </a:cubicBezTo>
                  <a:cubicBezTo>
                    <a:pt x="2520" y="472"/>
                    <a:pt x="2520" y="472"/>
                    <a:pt x="2520" y="472"/>
                  </a:cubicBezTo>
                  <a:cubicBezTo>
                    <a:pt x="2333" y="1"/>
                    <a:pt x="2333" y="1"/>
                    <a:pt x="2333" y="1"/>
                  </a:cubicBezTo>
                  <a:lnTo>
                    <a:pt x="2155" y="1"/>
                  </a:lnTo>
                  <a:close/>
                  <a:moveTo>
                    <a:pt x="2241" y="87"/>
                  </a:moveTo>
                  <a:cubicBezTo>
                    <a:pt x="2322" y="307"/>
                    <a:pt x="2322" y="307"/>
                    <a:pt x="2322" y="307"/>
                  </a:cubicBezTo>
                  <a:cubicBezTo>
                    <a:pt x="2158" y="307"/>
                    <a:pt x="2158" y="307"/>
                    <a:pt x="2158" y="307"/>
                  </a:cubicBezTo>
                  <a:lnTo>
                    <a:pt x="2241" y="8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" name="Freeform 7"/>
            <p:cNvSpPr>
              <a:spLocks noEditPoints="1"/>
            </p:cNvSpPr>
            <p:nvPr userDrawn="1"/>
          </p:nvSpPr>
          <p:spPr bwMode="auto">
            <a:xfrm>
              <a:off x="677492" y="-1417931"/>
              <a:ext cx="877396" cy="582700"/>
            </a:xfrm>
            <a:custGeom>
              <a:avLst/>
              <a:gdLst>
                <a:gd name="T0" fmla="*/ 405 w 1086"/>
                <a:gd name="T1" fmla="*/ 214 h 718"/>
                <a:gd name="T2" fmla="*/ 405 w 1086"/>
                <a:gd name="T3" fmla="*/ 149 h 718"/>
                <a:gd name="T4" fmla="*/ 424 w 1086"/>
                <a:gd name="T5" fmla="*/ 148 h 718"/>
                <a:gd name="T6" fmla="*/ 719 w 1086"/>
                <a:gd name="T7" fmla="*/ 301 h 718"/>
                <a:gd name="T8" fmla="*/ 458 w 1086"/>
                <a:gd name="T9" fmla="*/ 476 h 718"/>
                <a:gd name="T10" fmla="*/ 405 w 1086"/>
                <a:gd name="T11" fmla="*/ 467 h 718"/>
                <a:gd name="T12" fmla="*/ 405 w 1086"/>
                <a:gd name="T13" fmla="*/ 270 h 718"/>
                <a:gd name="T14" fmla="*/ 530 w 1086"/>
                <a:gd name="T15" fmla="*/ 378 h 718"/>
                <a:gd name="T16" fmla="*/ 622 w 1086"/>
                <a:gd name="T17" fmla="*/ 300 h 718"/>
                <a:gd name="T18" fmla="*/ 441 w 1086"/>
                <a:gd name="T19" fmla="*/ 212 h 718"/>
                <a:gd name="T20" fmla="*/ 405 w 1086"/>
                <a:gd name="T21" fmla="*/ 214 h 718"/>
                <a:gd name="T22" fmla="*/ 405 w 1086"/>
                <a:gd name="T23" fmla="*/ 0 h 718"/>
                <a:gd name="T24" fmla="*/ 405 w 1086"/>
                <a:gd name="T25" fmla="*/ 97 h 718"/>
                <a:gd name="T26" fmla="*/ 424 w 1086"/>
                <a:gd name="T27" fmla="*/ 95 h 718"/>
                <a:gd name="T28" fmla="*/ 832 w 1086"/>
                <a:gd name="T29" fmla="*/ 298 h 718"/>
                <a:gd name="T30" fmla="*/ 455 w 1086"/>
                <a:gd name="T31" fmla="*/ 523 h 718"/>
                <a:gd name="T32" fmla="*/ 405 w 1086"/>
                <a:gd name="T33" fmla="*/ 518 h 718"/>
                <a:gd name="T34" fmla="*/ 405 w 1086"/>
                <a:gd name="T35" fmla="*/ 578 h 718"/>
                <a:gd name="T36" fmla="*/ 447 w 1086"/>
                <a:gd name="T37" fmla="*/ 581 h 718"/>
                <a:gd name="T38" fmla="*/ 881 w 1086"/>
                <a:gd name="T39" fmla="*/ 381 h 718"/>
                <a:gd name="T40" fmla="*/ 1004 w 1086"/>
                <a:gd name="T41" fmla="*/ 456 h 718"/>
                <a:gd name="T42" fmla="*/ 449 w 1086"/>
                <a:gd name="T43" fmla="*/ 636 h 718"/>
                <a:gd name="T44" fmla="*/ 405 w 1086"/>
                <a:gd name="T45" fmla="*/ 634 h 718"/>
                <a:gd name="T46" fmla="*/ 405 w 1086"/>
                <a:gd name="T47" fmla="*/ 718 h 718"/>
                <a:gd name="T48" fmla="*/ 1086 w 1086"/>
                <a:gd name="T49" fmla="*/ 718 h 718"/>
                <a:gd name="T50" fmla="*/ 1086 w 1086"/>
                <a:gd name="T51" fmla="*/ 0 h 718"/>
                <a:gd name="T52" fmla="*/ 405 w 1086"/>
                <a:gd name="T53" fmla="*/ 0 h 718"/>
                <a:gd name="T54" fmla="*/ 405 w 1086"/>
                <a:gd name="T55" fmla="*/ 467 h 718"/>
                <a:gd name="T56" fmla="*/ 405 w 1086"/>
                <a:gd name="T57" fmla="*/ 518 h 718"/>
                <a:gd name="T58" fmla="*/ 194 w 1086"/>
                <a:gd name="T59" fmla="*/ 317 h 718"/>
                <a:gd name="T60" fmla="*/ 405 w 1086"/>
                <a:gd name="T61" fmla="*/ 214 h 718"/>
                <a:gd name="T62" fmla="*/ 405 w 1086"/>
                <a:gd name="T63" fmla="*/ 270 h 718"/>
                <a:gd name="T64" fmla="*/ 405 w 1086"/>
                <a:gd name="T65" fmla="*/ 270 h 718"/>
                <a:gd name="T66" fmla="*/ 281 w 1086"/>
                <a:gd name="T67" fmla="*/ 327 h 718"/>
                <a:gd name="T68" fmla="*/ 405 w 1086"/>
                <a:gd name="T69" fmla="*/ 467 h 718"/>
                <a:gd name="T70" fmla="*/ 111 w 1086"/>
                <a:gd name="T71" fmla="*/ 309 h 718"/>
                <a:gd name="T72" fmla="*/ 405 w 1086"/>
                <a:gd name="T73" fmla="*/ 149 h 718"/>
                <a:gd name="T74" fmla="*/ 405 w 1086"/>
                <a:gd name="T75" fmla="*/ 97 h 718"/>
                <a:gd name="T76" fmla="*/ 0 w 1086"/>
                <a:gd name="T77" fmla="*/ 298 h 718"/>
                <a:gd name="T78" fmla="*/ 405 w 1086"/>
                <a:gd name="T79" fmla="*/ 634 h 718"/>
                <a:gd name="T80" fmla="*/ 405 w 1086"/>
                <a:gd name="T81" fmla="*/ 578 h 718"/>
                <a:gd name="T82" fmla="*/ 111 w 1086"/>
                <a:gd name="T83" fmla="*/ 309 h 7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086" h="718">
                  <a:moveTo>
                    <a:pt x="405" y="214"/>
                  </a:moveTo>
                  <a:cubicBezTo>
                    <a:pt x="405" y="149"/>
                    <a:pt x="405" y="149"/>
                    <a:pt x="405" y="149"/>
                  </a:cubicBezTo>
                  <a:cubicBezTo>
                    <a:pt x="412" y="149"/>
                    <a:pt x="418" y="148"/>
                    <a:pt x="424" y="148"/>
                  </a:cubicBezTo>
                  <a:cubicBezTo>
                    <a:pt x="602" y="143"/>
                    <a:pt x="719" y="301"/>
                    <a:pt x="719" y="301"/>
                  </a:cubicBezTo>
                  <a:cubicBezTo>
                    <a:pt x="719" y="301"/>
                    <a:pt x="593" y="476"/>
                    <a:pt x="458" y="476"/>
                  </a:cubicBezTo>
                  <a:cubicBezTo>
                    <a:pt x="438" y="476"/>
                    <a:pt x="421" y="472"/>
                    <a:pt x="405" y="467"/>
                  </a:cubicBezTo>
                  <a:cubicBezTo>
                    <a:pt x="405" y="270"/>
                    <a:pt x="405" y="270"/>
                    <a:pt x="405" y="270"/>
                  </a:cubicBezTo>
                  <a:cubicBezTo>
                    <a:pt x="474" y="279"/>
                    <a:pt x="488" y="309"/>
                    <a:pt x="530" y="378"/>
                  </a:cubicBezTo>
                  <a:cubicBezTo>
                    <a:pt x="622" y="300"/>
                    <a:pt x="622" y="300"/>
                    <a:pt x="622" y="300"/>
                  </a:cubicBezTo>
                  <a:cubicBezTo>
                    <a:pt x="622" y="300"/>
                    <a:pt x="555" y="212"/>
                    <a:pt x="441" y="212"/>
                  </a:cubicBezTo>
                  <a:cubicBezTo>
                    <a:pt x="429" y="212"/>
                    <a:pt x="417" y="213"/>
                    <a:pt x="405" y="214"/>
                  </a:cubicBezTo>
                  <a:moveTo>
                    <a:pt x="405" y="0"/>
                  </a:moveTo>
                  <a:cubicBezTo>
                    <a:pt x="405" y="97"/>
                    <a:pt x="405" y="97"/>
                    <a:pt x="405" y="97"/>
                  </a:cubicBezTo>
                  <a:cubicBezTo>
                    <a:pt x="412" y="96"/>
                    <a:pt x="418" y="96"/>
                    <a:pt x="424" y="95"/>
                  </a:cubicBezTo>
                  <a:cubicBezTo>
                    <a:pt x="671" y="87"/>
                    <a:pt x="832" y="298"/>
                    <a:pt x="832" y="298"/>
                  </a:cubicBezTo>
                  <a:cubicBezTo>
                    <a:pt x="832" y="298"/>
                    <a:pt x="647" y="523"/>
                    <a:pt x="455" y="523"/>
                  </a:cubicBezTo>
                  <a:cubicBezTo>
                    <a:pt x="437" y="523"/>
                    <a:pt x="421" y="521"/>
                    <a:pt x="405" y="518"/>
                  </a:cubicBezTo>
                  <a:cubicBezTo>
                    <a:pt x="405" y="578"/>
                    <a:pt x="405" y="578"/>
                    <a:pt x="405" y="578"/>
                  </a:cubicBezTo>
                  <a:cubicBezTo>
                    <a:pt x="419" y="580"/>
                    <a:pt x="432" y="581"/>
                    <a:pt x="447" y="581"/>
                  </a:cubicBezTo>
                  <a:cubicBezTo>
                    <a:pt x="626" y="581"/>
                    <a:pt x="755" y="489"/>
                    <a:pt x="881" y="381"/>
                  </a:cubicBezTo>
                  <a:cubicBezTo>
                    <a:pt x="902" y="398"/>
                    <a:pt x="987" y="438"/>
                    <a:pt x="1004" y="456"/>
                  </a:cubicBezTo>
                  <a:cubicBezTo>
                    <a:pt x="885" y="556"/>
                    <a:pt x="607" y="636"/>
                    <a:pt x="449" y="636"/>
                  </a:cubicBezTo>
                  <a:cubicBezTo>
                    <a:pt x="434" y="636"/>
                    <a:pt x="420" y="636"/>
                    <a:pt x="405" y="634"/>
                  </a:cubicBezTo>
                  <a:cubicBezTo>
                    <a:pt x="405" y="718"/>
                    <a:pt x="405" y="718"/>
                    <a:pt x="405" y="718"/>
                  </a:cubicBezTo>
                  <a:cubicBezTo>
                    <a:pt x="1086" y="718"/>
                    <a:pt x="1086" y="718"/>
                    <a:pt x="1086" y="718"/>
                  </a:cubicBezTo>
                  <a:cubicBezTo>
                    <a:pt x="1086" y="0"/>
                    <a:pt x="1086" y="0"/>
                    <a:pt x="1086" y="0"/>
                  </a:cubicBezTo>
                  <a:lnTo>
                    <a:pt x="405" y="0"/>
                  </a:lnTo>
                  <a:close/>
                  <a:moveTo>
                    <a:pt x="405" y="467"/>
                  </a:moveTo>
                  <a:cubicBezTo>
                    <a:pt x="405" y="518"/>
                    <a:pt x="405" y="518"/>
                    <a:pt x="405" y="518"/>
                  </a:cubicBezTo>
                  <a:cubicBezTo>
                    <a:pt x="240" y="489"/>
                    <a:pt x="194" y="317"/>
                    <a:pt x="194" y="317"/>
                  </a:cubicBezTo>
                  <a:cubicBezTo>
                    <a:pt x="194" y="317"/>
                    <a:pt x="273" y="228"/>
                    <a:pt x="405" y="214"/>
                  </a:cubicBezTo>
                  <a:cubicBezTo>
                    <a:pt x="405" y="270"/>
                    <a:pt x="405" y="270"/>
                    <a:pt x="405" y="270"/>
                  </a:cubicBezTo>
                  <a:cubicBezTo>
                    <a:pt x="405" y="270"/>
                    <a:pt x="405" y="270"/>
                    <a:pt x="405" y="270"/>
                  </a:cubicBezTo>
                  <a:cubicBezTo>
                    <a:pt x="336" y="262"/>
                    <a:pt x="281" y="327"/>
                    <a:pt x="281" y="327"/>
                  </a:cubicBezTo>
                  <a:cubicBezTo>
                    <a:pt x="281" y="327"/>
                    <a:pt x="312" y="436"/>
                    <a:pt x="405" y="467"/>
                  </a:cubicBezTo>
                  <a:moveTo>
                    <a:pt x="111" y="309"/>
                  </a:moveTo>
                  <a:cubicBezTo>
                    <a:pt x="111" y="309"/>
                    <a:pt x="209" y="164"/>
                    <a:pt x="405" y="149"/>
                  </a:cubicBezTo>
                  <a:cubicBezTo>
                    <a:pt x="405" y="97"/>
                    <a:pt x="405" y="97"/>
                    <a:pt x="405" y="97"/>
                  </a:cubicBezTo>
                  <a:cubicBezTo>
                    <a:pt x="188" y="114"/>
                    <a:pt x="0" y="298"/>
                    <a:pt x="0" y="298"/>
                  </a:cubicBezTo>
                  <a:cubicBezTo>
                    <a:pt x="0" y="298"/>
                    <a:pt x="106" y="606"/>
                    <a:pt x="405" y="634"/>
                  </a:cubicBezTo>
                  <a:cubicBezTo>
                    <a:pt x="405" y="578"/>
                    <a:pt x="405" y="578"/>
                    <a:pt x="405" y="578"/>
                  </a:cubicBezTo>
                  <a:cubicBezTo>
                    <a:pt x="186" y="551"/>
                    <a:pt x="111" y="309"/>
                    <a:pt x="111" y="30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2295042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le Slide -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436475" cy="6994525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0"/>
            <a:ext cx="12436475" cy="6994525"/>
          </a:xfrm>
          <a:prstGeom prst="rect">
            <a:avLst/>
          </a:prstGeom>
          <a:gradFill>
            <a:gsLst>
              <a:gs pos="0">
                <a:schemeClr val="bg1">
                  <a:alpha val="58000"/>
                </a:schemeClr>
              </a:gs>
              <a:gs pos="58000">
                <a:schemeClr val="bg1">
                  <a:alpha val="0"/>
                </a:schemeClr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4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590327" y="2025193"/>
            <a:ext cx="9861304" cy="467179"/>
          </a:xfrm>
        </p:spPr>
        <p:txBody>
          <a:bodyPr wrap="square" anchor="t">
            <a:spAutoFit/>
          </a:bodyPr>
          <a:lstStyle>
            <a:lvl1pPr marL="0" indent="0" algn="l">
              <a:lnSpc>
                <a:spcPct val="90000"/>
              </a:lnSpc>
              <a:spcBef>
                <a:spcPts val="680"/>
              </a:spcBef>
              <a:spcAft>
                <a:spcPts val="340"/>
              </a:spcAft>
              <a:buFontTx/>
              <a:buNone/>
              <a:defRPr sz="2040" b="0">
                <a:solidFill>
                  <a:schemeClr val="tx1"/>
                </a:solidFill>
                <a:latin typeface="Trebuchet MS" pitchFamily="34" charset="0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305" name="Title 304"/>
          <p:cNvSpPr>
            <a:spLocks noGrp="1"/>
          </p:cNvSpPr>
          <p:nvPr userDrawn="1">
            <p:ph type="title" hasCustomPrompt="1"/>
          </p:nvPr>
        </p:nvSpPr>
        <p:spPr>
          <a:xfrm>
            <a:off x="545912" y="951105"/>
            <a:ext cx="9905091" cy="1113801"/>
          </a:xfrm>
        </p:spPr>
        <p:txBody>
          <a:bodyPr anchor="b">
            <a:noAutofit/>
          </a:bodyPr>
          <a:lstStyle>
            <a:lvl1pPr algn="l">
              <a:lnSpc>
                <a:spcPct val="90000"/>
              </a:lnSpc>
              <a:spcBef>
                <a:spcPts val="0"/>
              </a:spcBef>
              <a:defRPr sz="5213" b="1" cap="all" baseline="0">
                <a:solidFill>
                  <a:schemeClr val="tx1"/>
                </a:solidFill>
                <a:latin typeface="Trebuchet MS" panose="020B0603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8184" y="2863946"/>
            <a:ext cx="1843655" cy="3975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47861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ANIMA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5"/>
          <p:cNvSpPr>
            <a:spLocks noChangeArrowheads="1"/>
          </p:cNvSpPr>
          <p:nvPr userDrawn="1"/>
        </p:nvSpPr>
        <p:spPr bwMode="auto">
          <a:xfrm>
            <a:off x="3176" y="4395789"/>
            <a:ext cx="12433300" cy="2601913"/>
          </a:xfrm>
          <a:prstGeom prst="rect">
            <a:avLst/>
          </a:prstGeom>
          <a:solidFill>
            <a:srgbClr val="4DA0E2"/>
          </a:solidFill>
          <a:ln>
            <a:noFill/>
          </a:ln>
        </p:spPr>
        <p:txBody>
          <a:bodyPr vert="horz" wrap="square" lIns="91427" tIns="45713" rIns="91427" bIns="45713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325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0" name="Rectangle 7"/>
          <p:cNvSpPr>
            <a:spLocks noChangeArrowheads="1"/>
          </p:cNvSpPr>
          <p:nvPr userDrawn="1"/>
        </p:nvSpPr>
        <p:spPr bwMode="auto">
          <a:xfrm>
            <a:off x="1" y="5843588"/>
            <a:ext cx="12433301" cy="1154113"/>
          </a:xfrm>
          <a:prstGeom prst="rect">
            <a:avLst/>
          </a:prstGeom>
          <a:solidFill>
            <a:srgbClr val="00188F"/>
          </a:solidFill>
          <a:ln>
            <a:noFill/>
          </a:ln>
          <a:extLst/>
        </p:spPr>
        <p:txBody>
          <a:bodyPr vert="horz" wrap="square" lIns="91427" tIns="45713" rIns="91427" bIns="45713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325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1" name="Rectangle 8"/>
          <p:cNvSpPr>
            <a:spLocks noChangeArrowheads="1"/>
          </p:cNvSpPr>
          <p:nvPr userDrawn="1"/>
        </p:nvSpPr>
        <p:spPr bwMode="auto">
          <a:xfrm>
            <a:off x="3176" y="3409951"/>
            <a:ext cx="12430127" cy="282575"/>
          </a:xfrm>
          <a:prstGeom prst="rect">
            <a:avLst/>
          </a:prstGeom>
          <a:solidFill>
            <a:srgbClr val="25B9E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7" tIns="45713" rIns="91427" bIns="45713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325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0" y="-318"/>
            <a:ext cx="12435840" cy="6995160"/>
          </a:xfrm>
          <a:prstGeom prst="rect">
            <a:avLst/>
          </a:prstGeom>
          <a:solidFill>
            <a:schemeClr val="accent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293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6540" y="3954458"/>
            <a:ext cx="6399213" cy="1830388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3599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74703" y="2117165"/>
            <a:ext cx="10058336" cy="1837298"/>
          </a:xfrm>
          <a:noFill/>
        </p:spPr>
        <p:txBody>
          <a:bodyPr lIns="146304" tIns="91440" rIns="146304" bIns="91440" anchor="t" anchorCtr="0"/>
          <a:lstStyle>
            <a:lvl1pPr>
              <a:defRPr sz="5999" spc="-100" baseline="0">
                <a:gradFill>
                  <a:gsLst>
                    <a:gs pos="3333">
                      <a:schemeClr val="tx1"/>
                    </a:gs>
                    <a:gs pos="39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1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458332" y="6182441"/>
            <a:ext cx="1552931" cy="332660"/>
          </a:xfrm>
          <a:prstGeom prst="rect">
            <a:avLst/>
          </a:prstGeom>
        </p:spPr>
      </p:pic>
      <p:sp>
        <p:nvSpPr>
          <p:cNvPr id="8" name="Rectangle 6"/>
          <p:cNvSpPr>
            <a:spLocks noChangeArrowheads="1"/>
          </p:cNvSpPr>
          <p:nvPr userDrawn="1"/>
        </p:nvSpPr>
        <p:spPr bwMode="auto">
          <a:xfrm>
            <a:off x="3176" y="4395789"/>
            <a:ext cx="12433300" cy="26019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7" tIns="45713" rIns="91427" bIns="45713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325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57497550"/>
      </p:ext>
    </p:extLst>
  </p:cSld>
  <p:clrMapOvr>
    <a:masterClrMapping/>
  </p:clrMapOvr>
  <p:transition spd="slow">
    <p:push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3" presetClass="path" presetSubtype="0" accel="24000" decel="76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3.25011E-6 L 1.00728 3.25011E-6 " pathEditMode="relative" rAng="0" ptsTypes="AA">
                                      <p:cBhvr>
                                        <p:cTn id="6" dur="75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50357" y="0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63" presetClass="path" presetSubtype="0" accel="24000" decel="76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0 3.25011E-6 L 1.00728 3.25011E-6 " pathEditMode="relative" rAng="0" ptsTypes="AA">
                                      <p:cBhvr>
                                        <p:cTn id="8" dur="75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50357" y="0"/>
                                    </p:animMotion>
                                  </p:childTnLst>
                                </p:cTn>
                              </p:par>
                              <p:par>
                                <p:cTn id="9" presetID="63" presetClass="path" presetSubtype="0" accel="24000" decel="76000" fill="hold" grpId="0" nodeType="withEffect">
                                  <p:stCondLst>
                                    <p:cond delay="150"/>
                                  </p:stCondLst>
                                  <p:childTnLst>
                                    <p:animMotion origin="layout" path="M 0 3.25011E-6 L 1.00728 3.25011E-6 " pathEditMode="relative" rAng="0" ptsTypes="AA">
                                      <p:cBhvr>
                                        <p:cTn id="10" dur="7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50357" y="0"/>
                                    </p:animMotion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95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63" presetClass="path" presetSubtype="0" decel="100000" fill="hold" grpId="1" nodeType="withEffect">
                                  <p:stCondLst>
                                    <p:cond delay="750"/>
                                  </p:stCondLst>
                                  <p:childTnLst>
                                    <p:animMotion origin="layout" path="M -0.01455 -1.34362E-6 L -3.90605E-7 -1.34362E-6 " pathEditMode="relative" rAng="0" ptsTypes="AA">
                                      <p:cBhvr>
                                        <p:cTn id="17" dur="95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728" y="0"/>
                                    </p:animMotion>
                                  </p:childTnLst>
                                </p:cTn>
                              </p:par>
                              <p:par>
                                <p:cTn id="18" presetID="6" presetClass="emph" presetSubtype="0" accel="100000" autoRev="1" fill="hold" grpId="2" nodeType="withEffect">
                                  <p:stCondLst>
                                    <p:cond delay="50"/>
                                  </p:stCondLst>
                                  <p:childTnLst>
                                    <p:animScale>
                                      <p:cBhvr>
                                        <p:cTn id="19" dur="500" fill="hold"/>
                                        <p:tgtEl>
                                          <p:spTgt spid="9"/>
                                        </p:tgtEl>
                                      </p:cBhvr>
                                      <p:by x="95000" y="95000"/>
                                    </p:animScale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95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63" presetClass="path" presetSubtype="0" decel="100000" fill="hold" grpId="1" nodeType="withEffect">
                                  <p:stCondLst>
                                    <p:cond delay="800"/>
                                  </p:stCondLst>
                                  <p:childTnLst>
                                    <p:animMotion origin="layout" path="M -0.01455 -1.34362E-6 L -3.90605E-7 -1.34362E-6 " pathEditMode="relative" rAng="0" ptsTypes="AA">
                                      <p:cBhvr>
                                        <p:cTn id="24" dur="95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728" y="0"/>
                                    </p:animMotion>
                                  </p:childTnLst>
                                </p:cTn>
                              </p:par>
                              <p:par>
                                <p:cTn id="25" presetID="6" presetClass="emph" presetSubtype="0" accel="100000" autoRev="1" fill="hold" grpId="2" nodeType="withEffect">
                                  <p:stCondLst>
                                    <p:cond delay="100"/>
                                  </p:stCondLst>
                                  <p:childTnLst>
                                    <p:animScale>
                                      <p:cBhvr>
                                        <p:cTn id="26" dur="500" fill="hold"/>
                                        <p:tgtEl>
                                          <p:spTgt spid="5"/>
                                        </p:tgtEl>
                                      </p:cBhvr>
                                      <p:by x="95000" y="95000"/>
                                    </p:animScale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nodeType="withEffect">
                                  <p:stCondLst>
                                    <p:cond delay="90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95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63" presetClass="path" presetSubtype="0" decel="100000" fill="hold" nodeType="withEffect">
                                  <p:stCondLst>
                                    <p:cond delay="900"/>
                                  </p:stCondLst>
                                  <p:childTnLst>
                                    <p:animMotion origin="layout" path="M -0.01455 -1.34362E-6 L -3.90605E-7 -1.34362E-6 " pathEditMode="relative" rAng="0" ptsTypes="AA">
                                      <p:cBhvr>
                                        <p:cTn id="31" dur="95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728" y="0"/>
                                    </p:animMotion>
                                  </p:childTnLst>
                                </p:cTn>
                              </p:par>
                              <p:par>
                                <p:cTn id="32" presetID="6" presetClass="emph" presetSubtype="0" accel="100000" autoRev="1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animScale>
                                      <p:cBhvr>
                                        <p:cTn id="33" dur="500" fill="hold"/>
                                        <p:tgtEl>
                                          <p:spTgt spid="6"/>
                                        </p:tgtEl>
                                      </p:cBhvr>
                                      <p:by x="95000" y="9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  <p:bldP spid="10" grpId="0" animBg="1"/>
      <p:bldP spid="11" grpId="0" animBg="1"/>
      <p:bldP spid="13" grpId="0" animBg="1"/>
      <p:bldP spid="5" grpId="0">
        <p:tmplLst>
          <p:tmpl>
            <p:tnLst>
              <p:par>
                <p:cTn presetID="10" presetClass="entr" presetSubtype="0" fill="hold" nodeType="withEffect">
                  <p:stCondLst>
                    <p:cond delay="8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950"/>
                        <p:tgtEl>
                          <p:spTgt spid="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" grpId="1">
        <p:tmplLst>
          <p:tmpl>
            <p:tnLst>
              <p:par>
                <p:cTn presetID="63" presetClass="path" presetSubtype="0" decel="100000" fill="hold" nodeType="withEffect">
                  <p:stCondLst>
                    <p:cond delay="800"/>
                  </p:stCondLst>
                  <p:childTnLst>
                    <p:animMotion origin="layout" path="M -0.01455 -1.34362E-6 L -3.90605E-7 -1.34362E-6 " pathEditMode="relative" rAng="0" ptsTypes="AA">
                      <p:cBhvr>
                        <p:cTn dur="950" fill="hold"/>
                        <p:tgtEl>
                          <p:spTgt spid="5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728" y="0"/>
                    </p:animMotion>
                  </p:childTnLst>
                </p:cTn>
              </p:par>
            </p:tnLst>
          </p:tmpl>
        </p:tmplLst>
      </p:bldP>
      <p:bldP spid="5" grpId="2">
        <p:tmplLst>
          <p:tmpl>
            <p:tnLst>
              <p:par>
                <p:cTn presetID="6" presetClass="emph" presetSubtype="0" accel="100000" autoRev="1" fill="hold" nodeType="withEffect">
                  <p:stCondLst>
                    <p:cond delay="100"/>
                  </p:stCondLst>
                  <p:childTnLst>
                    <p:animScale>
                      <p:cBhvr>
                        <p:cTn dur="500" fill="hold"/>
                        <p:tgtEl>
                          <p:spTgt spid="5"/>
                        </p:tgtEl>
                      </p:cBhvr>
                      <p:by x="95000" y="95000"/>
                    </p:animScale>
                  </p:childTnLst>
                </p:cTn>
              </p:par>
            </p:tnLst>
          </p:tmpl>
        </p:tmplLst>
      </p:bldP>
      <p:bldP spid="9" grpId="0"/>
      <p:bldP spid="9" grpId="1"/>
      <p:bldP spid="9" grpId="2"/>
    </p:bldLst>
  </p:timing>
  <p:extLst mod="1">
    <p:ext uri="{DCECCB84-F9BA-43D5-87BE-67443E8EF086}">
      <p15:sldGuideLst xmlns:p15="http://schemas.microsoft.com/office/powerpoint/2012/main">
        <p15:guide id="1" orient="horz" pos="4494">
          <p15:clr>
            <a:srgbClr val="C35EA4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2125663"/>
            <a:ext cx="11887200" cy="1831975"/>
          </a:xfrm>
          <a:noFill/>
        </p:spPr>
        <p:txBody>
          <a:bodyPr tIns="91440" bIns="91440" anchor="t" anchorCtr="0"/>
          <a:lstStyle>
            <a:lvl1pPr algn="l" defTabSz="9325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8799" b="0" kern="1200" cap="none" spc="-100" baseline="0" dirty="0">
                <a:ln w="3175">
                  <a:noFill/>
                </a:ln>
                <a:gradFill>
                  <a:gsLst>
                    <a:gs pos="75912">
                      <a:schemeClr val="tx1"/>
                    </a:gs>
                    <a:gs pos="34307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4269068375"/>
      </p:ext>
    </p:extLst>
  </p:cSld>
  <p:clrMapOvr>
    <a:masterClrMapping/>
  </p:clrMapOvr>
  <p:transition>
    <p:fade/>
  </p:transition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274639" y="1212850"/>
            <a:ext cx="11889564" cy="2059025"/>
          </a:xfrm>
        </p:spPr>
        <p:txBody>
          <a:bodyPr/>
          <a:lstStyle>
            <a:lvl1pPr marL="0" indent="0">
              <a:buNone/>
              <a:defRPr/>
            </a:lvl1pPr>
            <a:lvl2pPr marL="28569" indent="0">
              <a:buNone/>
              <a:defRPr sz="2000"/>
            </a:lvl2pPr>
            <a:lvl3pPr marL="223795" indent="0">
              <a:buNone/>
              <a:defRPr sz="2000"/>
            </a:lvl3pPr>
            <a:lvl4pPr marL="476159" indent="0">
              <a:buNone/>
              <a:defRPr sz="1800"/>
            </a:lvl4pPr>
            <a:lvl5pPr marL="739632" indent="0">
              <a:buNone/>
              <a:defRPr sz="18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78736938"/>
      </p:ext>
    </p:extLst>
  </p:cSld>
  <p:clrMapOvr>
    <a:masterClrMapping/>
  </p:clrMapOvr>
  <p:transition>
    <p:fade/>
  </p:transition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2850"/>
            <a:ext cx="11887200" cy="2228302"/>
          </a:xfrm>
        </p:spPr>
        <p:txBody>
          <a:bodyPr>
            <a:spAutoFit/>
          </a:bodyPr>
          <a:lstStyle>
            <a:lvl3pPr>
              <a:defRPr sz="24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93294268"/>
      </p:ext>
    </p:extLst>
  </p:cSld>
  <p:clrMapOvr>
    <a:masterClrMapping/>
  </p:clrMapOvr>
  <p:transition>
    <p:fade/>
  </p:transition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40" y="1212850"/>
            <a:ext cx="5486399" cy="2040832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itchFamily="2" charset="2"/>
              <a:buNone/>
              <a:defRPr sz="3599"/>
            </a:lvl1pPr>
            <a:lvl2pPr marL="0" indent="0">
              <a:buNone/>
              <a:defRPr sz="2000"/>
            </a:lvl2pPr>
            <a:lvl3pPr marL="231730" indent="0">
              <a:buNone/>
              <a:tabLst/>
              <a:defRPr sz="2000"/>
            </a:lvl3pPr>
            <a:lvl4pPr marL="460287" indent="0">
              <a:buNone/>
              <a:defRPr/>
            </a:lvl4pPr>
            <a:lvl5pPr marL="685669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2850"/>
            <a:ext cx="5486399" cy="2040832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itchFamily="2" charset="2"/>
              <a:buNone/>
              <a:defRPr sz="3599"/>
            </a:lvl1pPr>
            <a:lvl2pPr marL="0" indent="0">
              <a:buNone/>
              <a:defRPr sz="2000"/>
            </a:lvl2pPr>
            <a:lvl3pPr marL="231730" indent="0">
              <a:buNone/>
              <a:tabLst/>
              <a:defRPr sz="2000"/>
            </a:lvl3pPr>
            <a:lvl4pPr marL="460287" indent="0">
              <a:buNone/>
              <a:defRPr/>
            </a:lvl4pPr>
            <a:lvl5pPr marL="685669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71182217"/>
      </p:ext>
    </p:extLst>
  </p:cSld>
  <p:clrMapOvr>
    <a:masterClrMapping/>
  </p:clrMapOvr>
  <p:transition>
    <p:fade/>
  </p:transition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40" y="1212850"/>
            <a:ext cx="5486399" cy="2108517"/>
          </a:xfrm>
        </p:spPr>
        <p:txBody>
          <a:bodyPr wrap="square">
            <a:spAutoFit/>
          </a:bodyPr>
          <a:lstStyle>
            <a:lvl1pPr marL="287282" indent="-287282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3599"/>
            </a:lvl1pPr>
            <a:lvl2pPr marL="531064" indent="-233150">
              <a:defRPr sz="2400"/>
            </a:lvl2pPr>
            <a:lvl3pPr marL="699450" indent="-168387">
              <a:tabLst/>
              <a:defRPr sz="2000"/>
            </a:lvl3pPr>
            <a:lvl4pPr marL="880789" indent="-181339">
              <a:defRPr/>
            </a:lvl4pPr>
            <a:lvl5pPr marL="1049175" indent="-168387"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2850"/>
            <a:ext cx="5486399" cy="2108517"/>
          </a:xfrm>
        </p:spPr>
        <p:txBody>
          <a:bodyPr wrap="square">
            <a:spAutoFit/>
          </a:bodyPr>
          <a:lstStyle>
            <a:lvl1pPr marL="287282" indent="-287282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3599"/>
            </a:lvl1pPr>
            <a:lvl2pPr marL="531064" indent="-233150">
              <a:defRPr sz="2400"/>
            </a:lvl2pPr>
            <a:lvl3pPr marL="699450" indent="-168387">
              <a:tabLst/>
              <a:defRPr sz="2000"/>
            </a:lvl3pPr>
            <a:lvl4pPr marL="880789" indent="-181339">
              <a:defRPr/>
            </a:lvl4pPr>
            <a:lvl5pPr marL="1049175" indent="-168387"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9516489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4.xml"/><Relationship Id="rId13" Type="http://schemas.openxmlformats.org/officeDocument/2006/relationships/slideLayout" Target="../slideLayouts/slideLayout179.xml"/><Relationship Id="rId18" Type="http://schemas.openxmlformats.org/officeDocument/2006/relationships/slideLayout" Target="../slideLayouts/slideLayout184.xml"/><Relationship Id="rId3" Type="http://schemas.openxmlformats.org/officeDocument/2006/relationships/slideLayout" Target="../slideLayouts/slideLayout169.xml"/><Relationship Id="rId7" Type="http://schemas.openxmlformats.org/officeDocument/2006/relationships/slideLayout" Target="../slideLayouts/slideLayout173.xml"/><Relationship Id="rId12" Type="http://schemas.openxmlformats.org/officeDocument/2006/relationships/slideLayout" Target="../slideLayouts/slideLayout178.xml"/><Relationship Id="rId17" Type="http://schemas.openxmlformats.org/officeDocument/2006/relationships/slideLayout" Target="../slideLayouts/slideLayout183.xml"/><Relationship Id="rId2" Type="http://schemas.openxmlformats.org/officeDocument/2006/relationships/slideLayout" Target="../slideLayouts/slideLayout168.xml"/><Relationship Id="rId16" Type="http://schemas.openxmlformats.org/officeDocument/2006/relationships/slideLayout" Target="../slideLayouts/slideLayout182.xml"/><Relationship Id="rId20" Type="http://schemas.openxmlformats.org/officeDocument/2006/relationships/theme" Target="../theme/theme10.xml"/><Relationship Id="rId1" Type="http://schemas.openxmlformats.org/officeDocument/2006/relationships/slideLayout" Target="../slideLayouts/slideLayout167.xml"/><Relationship Id="rId6" Type="http://schemas.openxmlformats.org/officeDocument/2006/relationships/slideLayout" Target="../slideLayouts/slideLayout172.xml"/><Relationship Id="rId11" Type="http://schemas.openxmlformats.org/officeDocument/2006/relationships/slideLayout" Target="../slideLayouts/slideLayout177.xml"/><Relationship Id="rId5" Type="http://schemas.openxmlformats.org/officeDocument/2006/relationships/slideLayout" Target="../slideLayouts/slideLayout171.xml"/><Relationship Id="rId15" Type="http://schemas.openxmlformats.org/officeDocument/2006/relationships/slideLayout" Target="../slideLayouts/slideLayout181.xml"/><Relationship Id="rId10" Type="http://schemas.openxmlformats.org/officeDocument/2006/relationships/slideLayout" Target="../slideLayouts/slideLayout176.xml"/><Relationship Id="rId19" Type="http://schemas.openxmlformats.org/officeDocument/2006/relationships/slideLayout" Target="../slideLayouts/slideLayout185.xml"/><Relationship Id="rId4" Type="http://schemas.openxmlformats.org/officeDocument/2006/relationships/slideLayout" Target="../slideLayouts/slideLayout170.xml"/><Relationship Id="rId9" Type="http://schemas.openxmlformats.org/officeDocument/2006/relationships/slideLayout" Target="../slideLayouts/slideLayout175.xml"/><Relationship Id="rId14" Type="http://schemas.openxmlformats.org/officeDocument/2006/relationships/slideLayout" Target="../slideLayouts/slideLayout180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.xml"/><Relationship Id="rId13" Type="http://schemas.openxmlformats.org/officeDocument/2006/relationships/slideLayout" Target="../slideLayouts/slideLayout34.xml"/><Relationship Id="rId18" Type="http://schemas.openxmlformats.org/officeDocument/2006/relationships/slideLayout" Target="../slideLayouts/slideLayout39.xml"/><Relationship Id="rId3" Type="http://schemas.openxmlformats.org/officeDocument/2006/relationships/slideLayout" Target="../slideLayouts/slideLayout24.xml"/><Relationship Id="rId7" Type="http://schemas.openxmlformats.org/officeDocument/2006/relationships/slideLayout" Target="../slideLayouts/slideLayout28.xml"/><Relationship Id="rId12" Type="http://schemas.openxmlformats.org/officeDocument/2006/relationships/slideLayout" Target="../slideLayouts/slideLayout33.xml"/><Relationship Id="rId17" Type="http://schemas.openxmlformats.org/officeDocument/2006/relationships/slideLayout" Target="../slideLayouts/slideLayout38.xml"/><Relationship Id="rId2" Type="http://schemas.openxmlformats.org/officeDocument/2006/relationships/slideLayout" Target="../slideLayouts/slideLayout23.xml"/><Relationship Id="rId16" Type="http://schemas.openxmlformats.org/officeDocument/2006/relationships/slideLayout" Target="../slideLayouts/slideLayout37.xml"/><Relationship Id="rId20" Type="http://schemas.openxmlformats.org/officeDocument/2006/relationships/theme" Target="../theme/theme2.xml"/><Relationship Id="rId1" Type="http://schemas.openxmlformats.org/officeDocument/2006/relationships/slideLayout" Target="../slideLayouts/slideLayout22.xml"/><Relationship Id="rId6" Type="http://schemas.openxmlformats.org/officeDocument/2006/relationships/slideLayout" Target="../slideLayouts/slideLayout27.xml"/><Relationship Id="rId11" Type="http://schemas.openxmlformats.org/officeDocument/2006/relationships/slideLayout" Target="../slideLayouts/slideLayout32.xml"/><Relationship Id="rId5" Type="http://schemas.openxmlformats.org/officeDocument/2006/relationships/slideLayout" Target="../slideLayouts/slideLayout26.xml"/><Relationship Id="rId15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31.xml"/><Relationship Id="rId19" Type="http://schemas.openxmlformats.org/officeDocument/2006/relationships/slideLayout" Target="../slideLayouts/slideLayout40.xml"/><Relationship Id="rId4" Type="http://schemas.openxmlformats.org/officeDocument/2006/relationships/slideLayout" Target="../slideLayouts/slideLayout25.xml"/><Relationship Id="rId9" Type="http://schemas.openxmlformats.org/officeDocument/2006/relationships/slideLayout" Target="../slideLayouts/slideLayout30.xml"/><Relationship Id="rId14" Type="http://schemas.openxmlformats.org/officeDocument/2006/relationships/slideLayout" Target="../slideLayouts/slideLayout35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8.xml"/><Relationship Id="rId13" Type="http://schemas.openxmlformats.org/officeDocument/2006/relationships/slideLayout" Target="../slideLayouts/slideLayout53.xml"/><Relationship Id="rId18" Type="http://schemas.openxmlformats.org/officeDocument/2006/relationships/slideLayout" Target="../slideLayouts/slideLayout58.xml"/><Relationship Id="rId3" Type="http://schemas.openxmlformats.org/officeDocument/2006/relationships/slideLayout" Target="../slideLayouts/slideLayout43.xml"/><Relationship Id="rId21" Type="http://schemas.openxmlformats.org/officeDocument/2006/relationships/slideLayout" Target="../slideLayouts/slideLayout61.xml"/><Relationship Id="rId7" Type="http://schemas.openxmlformats.org/officeDocument/2006/relationships/slideLayout" Target="../slideLayouts/slideLayout47.xml"/><Relationship Id="rId12" Type="http://schemas.openxmlformats.org/officeDocument/2006/relationships/slideLayout" Target="../slideLayouts/slideLayout52.xml"/><Relationship Id="rId17" Type="http://schemas.openxmlformats.org/officeDocument/2006/relationships/slideLayout" Target="../slideLayouts/slideLayout57.xml"/><Relationship Id="rId2" Type="http://schemas.openxmlformats.org/officeDocument/2006/relationships/slideLayout" Target="../slideLayouts/slideLayout42.xml"/><Relationship Id="rId16" Type="http://schemas.openxmlformats.org/officeDocument/2006/relationships/slideLayout" Target="../slideLayouts/slideLayout56.xml"/><Relationship Id="rId20" Type="http://schemas.openxmlformats.org/officeDocument/2006/relationships/slideLayout" Target="../slideLayouts/slideLayout60.xml"/><Relationship Id="rId1" Type="http://schemas.openxmlformats.org/officeDocument/2006/relationships/slideLayout" Target="../slideLayouts/slideLayout41.xml"/><Relationship Id="rId6" Type="http://schemas.openxmlformats.org/officeDocument/2006/relationships/slideLayout" Target="../slideLayouts/slideLayout46.xml"/><Relationship Id="rId11" Type="http://schemas.openxmlformats.org/officeDocument/2006/relationships/slideLayout" Target="../slideLayouts/slideLayout51.xml"/><Relationship Id="rId5" Type="http://schemas.openxmlformats.org/officeDocument/2006/relationships/slideLayout" Target="../slideLayouts/slideLayout45.xml"/><Relationship Id="rId15" Type="http://schemas.openxmlformats.org/officeDocument/2006/relationships/slideLayout" Target="../slideLayouts/slideLayout55.xml"/><Relationship Id="rId10" Type="http://schemas.openxmlformats.org/officeDocument/2006/relationships/slideLayout" Target="../slideLayouts/slideLayout50.xml"/><Relationship Id="rId19" Type="http://schemas.openxmlformats.org/officeDocument/2006/relationships/slideLayout" Target="../slideLayouts/slideLayout59.xml"/><Relationship Id="rId4" Type="http://schemas.openxmlformats.org/officeDocument/2006/relationships/slideLayout" Target="../slideLayouts/slideLayout44.xml"/><Relationship Id="rId9" Type="http://schemas.openxmlformats.org/officeDocument/2006/relationships/slideLayout" Target="../slideLayouts/slideLayout49.xml"/><Relationship Id="rId14" Type="http://schemas.openxmlformats.org/officeDocument/2006/relationships/slideLayout" Target="../slideLayouts/slideLayout54.xml"/><Relationship Id="rId22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9.xml"/><Relationship Id="rId13" Type="http://schemas.openxmlformats.org/officeDocument/2006/relationships/slideLayout" Target="../slideLayouts/slideLayout74.xml"/><Relationship Id="rId18" Type="http://schemas.openxmlformats.org/officeDocument/2006/relationships/slideLayout" Target="../slideLayouts/slideLayout79.xml"/><Relationship Id="rId26" Type="http://schemas.openxmlformats.org/officeDocument/2006/relationships/theme" Target="../theme/theme4.xml"/><Relationship Id="rId3" Type="http://schemas.openxmlformats.org/officeDocument/2006/relationships/slideLayout" Target="../slideLayouts/slideLayout64.xml"/><Relationship Id="rId21" Type="http://schemas.openxmlformats.org/officeDocument/2006/relationships/slideLayout" Target="../slideLayouts/slideLayout82.xml"/><Relationship Id="rId7" Type="http://schemas.openxmlformats.org/officeDocument/2006/relationships/slideLayout" Target="../slideLayouts/slideLayout68.xml"/><Relationship Id="rId12" Type="http://schemas.openxmlformats.org/officeDocument/2006/relationships/slideLayout" Target="../slideLayouts/slideLayout73.xml"/><Relationship Id="rId17" Type="http://schemas.openxmlformats.org/officeDocument/2006/relationships/slideLayout" Target="../slideLayouts/slideLayout78.xml"/><Relationship Id="rId25" Type="http://schemas.openxmlformats.org/officeDocument/2006/relationships/slideLayout" Target="../slideLayouts/slideLayout86.xml"/><Relationship Id="rId2" Type="http://schemas.openxmlformats.org/officeDocument/2006/relationships/slideLayout" Target="../slideLayouts/slideLayout63.xml"/><Relationship Id="rId16" Type="http://schemas.openxmlformats.org/officeDocument/2006/relationships/slideLayout" Target="../slideLayouts/slideLayout77.xml"/><Relationship Id="rId20" Type="http://schemas.openxmlformats.org/officeDocument/2006/relationships/slideLayout" Target="../slideLayouts/slideLayout81.xml"/><Relationship Id="rId1" Type="http://schemas.openxmlformats.org/officeDocument/2006/relationships/slideLayout" Target="../slideLayouts/slideLayout62.xml"/><Relationship Id="rId6" Type="http://schemas.openxmlformats.org/officeDocument/2006/relationships/slideLayout" Target="../slideLayouts/slideLayout67.xml"/><Relationship Id="rId11" Type="http://schemas.openxmlformats.org/officeDocument/2006/relationships/slideLayout" Target="../slideLayouts/slideLayout72.xml"/><Relationship Id="rId24" Type="http://schemas.openxmlformats.org/officeDocument/2006/relationships/slideLayout" Target="../slideLayouts/slideLayout85.xml"/><Relationship Id="rId5" Type="http://schemas.openxmlformats.org/officeDocument/2006/relationships/slideLayout" Target="../slideLayouts/slideLayout66.xml"/><Relationship Id="rId15" Type="http://schemas.openxmlformats.org/officeDocument/2006/relationships/slideLayout" Target="../slideLayouts/slideLayout76.xml"/><Relationship Id="rId23" Type="http://schemas.openxmlformats.org/officeDocument/2006/relationships/slideLayout" Target="../slideLayouts/slideLayout84.xml"/><Relationship Id="rId10" Type="http://schemas.openxmlformats.org/officeDocument/2006/relationships/slideLayout" Target="../slideLayouts/slideLayout71.xml"/><Relationship Id="rId19" Type="http://schemas.openxmlformats.org/officeDocument/2006/relationships/slideLayout" Target="../slideLayouts/slideLayout80.xml"/><Relationship Id="rId4" Type="http://schemas.openxmlformats.org/officeDocument/2006/relationships/slideLayout" Target="../slideLayouts/slideLayout65.xml"/><Relationship Id="rId9" Type="http://schemas.openxmlformats.org/officeDocument/2006/relationships/slideLayout" Target="../slideLayouts/slideLayout70.xml"/><Relationship Id="rId14" Type="http://schemas.openxmlformats.org/officeDocument/2006/relationships/slideLayout" Target="../slideLayouts/slideLayout75.xml"/><Relationship Id="rId22" Type="http://schemas.openxmlformats.org/officeDocument/2006/relationships/slideLayout" Target="../slideLayouts/slideLayout83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theme" Target="../theme/theme5.xml"/><Relationship Id="rId3" Type="http://schemas.openxmlformats.org/officeDocument/2006/relationships/slideLayout" Target="../slideLayouts/slideLayout89.xml"/><Relationship Id="rId7" Type="http://schemas.openxmlformats.org/officeDocument/2006/relationships/slideLayout" Target="../slideLayouts/slideLayout93.xml"/><Relationship Id="rId2" Type="http://schemas.openxmlformats.org/officeDocument/2006/relationships/slideLayout" Target="../slideLayouts/slideLayout88.xml"/><Relationship Id="rId1" Type="http://schemas.openxmlformats.org/officeDocument/2006/relationships/slideLayout" Target="../slideLayouts/slideLayout87.xml"/><Relationship Id="rId6" Type="http://schemas.openxmlformats.org/officeDocument/2006/relationships/slideLayout" Target="../slideLayouts/slideLayout92.xml"/><Relationship Id="rId5" Type="http://schemas.openxmlformats.org/officeDocument/2006/relationships/slideLayout" Target="../slideLayouts/slideLayout91.xml"/><Relationship Id="rId4" Type="http://schemas.openxmlformats.org/officeDocument/2006/relationships/slideLayout" Target="../slideLayouts/slideLayout90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1.xml"/><Relationship Id="rId13" Type="http://schemas.openxmlformats.org/officeDocument/2006/relationships/slideLayout" Target="../slideLayouts/slideLayout106.xml"/><Relationship Id="rId3" Type="http://schemas.openxmlformats.org/officeDocument/2006/relationships/slideLayout" Target="../slideLayouts/slideLayout96.xml"/><Relationship Id="rId7" Type="http://schemas.openxmlformats.org/officeDocument/2006/relationships/slideLayout" Target="../slideLayouts/slideLayout100.xml"/><Relationship Id="rId12" Type="http://schemas.openxmlformats.org/officeDocument/2006/relationships/slideLayout" Target="../slideLayouts/slideLayout105.xml"/><Relationship Id="rId17" Type="http://schemas.openxmlformats.org/officeDocument/2006/relationships/image" Target="../media/image11.png"/><Relationship Id="rId2" Type="http://schemas.openxmlformats.org/officeDocument/2006/relationships/slideLayout" Target="../slideLayouts/slideLayout95.xml"/><Relationship Id="rId16" Type="http://schemas.openxmlformats.org/officeDocument/2006/relationships/theme" Target="../theme/theme6.xml"/><Relationship Id="rId1" Type="http://schemas.openxmlformats.org/officeDocument/2006/relationships/slideLayout" Target="../slideLayouts/slideLayout94.xml"/><Relationship Id="rId6" Type="http://schemas.openxmlformats.org/officeDocument/2006/relationships/slideLayout" Target="../slideLayouts/slideLayout99.xml"/><Relationship Id="rId11" Type="http://schemas.openxmlformats.org/officeDocument/2006/relationships/slideLayout" Target="../slideLayouts/slideLayout104.xml"/><Relationship Id="rId5" Type="http://schemas.openxmlformats.org/officeDocument/2006/relationships/slideLayout" Target="../slideLayouts/slideLayout98.xml"/><Relationship Id="rId15" Type="http://schemas.openxmlformats.org/officeDocument/2006/relationships/slideLayout" Target="../slideLayouts/slideLayout108.xml"/><Relationship Id="rId10" Type="http://schemas.openxmlformats.org/officeDocument/2006/relationships/slideLayout" Target="../slideLayouts/slideLayout103.xml"/><Relationship Id="rId4" Type="http://schemas.openxmlformats.org/officeDocument/2006/relationships/slideLayout" Target="../slideLayouts/slideLayout97.xml"/><Relationship Id="rId9" Type="http://schemas.openxmlformats.org/officeDocument/2006/relationships/slideLayout" Target="../slideLayouts/slideLayout102.xml"/><Relationship Id="rId14" Type="http://schemas.openxmlformats.org/officeDocument/2006/relationships/slideLayout" Target="../slideLayouts/slideLayout107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6.xml"/><Relationship Id="rId13" Type="http://schemas.openxmlformats.org/officeDocument/2006/relationships/slideLayout" Target="../slideLayouts/slideLayout121.xml"/><Relationship Id="rId18" Type="http://schemas.openxmlformats.org/officeDocument/2006/relationships/slideLayout" Target="../slideLayouts/slideLayout126.xml"/><Relationship Id="rId26" Type="http://schemas.openxmlformats.org/officeDocument/2006/relationships/image" Target="../media/image17.png"/><Relationship Id="rId3" Type="http://schemas.openxmlformats.org/officeDocument/2006/relationships/slideLayout" Target="../slideLayouts/slideLayout111.xml"/><Relationship Id="rId21" Type="http://schemas.openxmlformats.org/officeDocument/2006/relationships/slideLayout" Target="../slideLayouts/slideLayout129.xml"/><Relationship Id="rId7" Type="http://schemas.openxmlformats.org/officeDocument/2006/relationships/slideLayout" Target="../slideLayouts/slideLayout115.xml"/><Relationship Id="rId12" Type="http://schemas.openxmlformats.org/officeDocument/2006/relationships/slideLayout" Target="../slideLayouts/slideLayout120.xml"/><Relationship Id="rId17" Type="http://schemas.openxmlformats.org/officeDocument/2006/relationships/slideLayout" Target="../slideLayouts/slideLayout125.xml"/><Relationship Id="rId25" Type="http://schemas.openxmlformats.org/officeDocument/2006/relationships/image" Target="../media/image16.png"/><Relationship Id="rId2" Type="http://schemas.openxmlformats.org/officeDocument/2006/relationships/slideLayout" Target="../slideLayouts/slideLayout110.xml"/><Relationship Id="rId16" Type="http://schemas.openxmlformats.org/officeDocument/2006/relationships/slideLayout" Target="../slideLayouts/slideLayout124.xml"/><Relationship Id="rId20" Type="http://schemas.openxmlformats.org/officeDocument/2006/relationships/slideLayout" Target="../slideLayouts/slideLayout128.xml"/><Relationship Id="rId1" Type="http://schemas.openxmlformats.org/officeDocument/2006/relationships/slideLayout" Target="../slideLayouts/slideLayout109.xml"/><Relationship Id="rId6" Type="http://schemas.openxmlformats.org/officeDocument/2006/relationships/slideLayout" Target="../slideLayouts/slideLayout114.xml"/><Relationship Id="rId11" Type="http://schemas.openxmlformats.org/officeDocument/2006/relationships/slideLayout" Target="../slideLayouts/slideLayout119.xml"/><Relationship Id="rId24" Type="http://schemas.openxmlformats.org/officeDocument/2006/relationships/theme" Target="../theme/theme7.xml"/><Relationship Id="rId5" Type="http://schemas.openxmlformats.org/officeDocument/2006/relationships/slideLayout" Target="../slideLayouts/slideLayout113.xml"/><Relationship Id="rId15" Type="http://schemas.openxmlformats.org/officeDocument/2006/relationships/slideLayout" Target="../slideLayouts/slideLayout123.xml"/><Relationship Id="rId23" Type="http://schemas.openxmlformats.org/officeDocument/2006/relationships/slideLayout" Target="../slideLayouts/slideLayout131.xml"/><Relationship Id="rId10" Type="http://schemas.openxmlformats.org/officeDocument/2006/relationships/slideLayout" Target="../slideLayouts/slideLayout118.xml"/><Relationship Id="rId19" Type="http://schemas.openxmlformats.org/officeDocument/2006/relationships/slideLayout" Target="../slideLayouts/slideLayout127.xml"/><Relationship Id="rId4" Type="http://schemas.openxmlformats.org/officeDocument/2006/relationships/slideLayout" Target="../slideLayouts/slideLayout112.xml"/><Relationship Id="rId9" Type="http://schemas.openxmlformats.org/officeDocument/2006/relationships/slideLayout" Target="../slideLayouts/slideLayout117.xml"/><Relationship Id="rId14" Type="http://schemas.openxmlformats.org/officeDocument/2006/relationships/slideLayout" Target="../slideLayouts/slideLayout122.xml"/><Relationship Id="rId22" Type="http://schemas.openxmlformats.org/officeDocument/2006/relationships/slideLayout" Target="../slideLayouts/slideLayout130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9.xml"/><Relationship Id="rId13" Type="http://schemas.openxmlformats.org/officeDocument/2006/relationships/slideLayout" Target="../slideLayouts/slideLayout144.xml"/><Relationship Id="rId18" Type="http://schemas.openxmlformats.org/officeDocument/2006/relationships/slideLayout" Target="../slideLayouts/slideLayout149.xml"/><Relationship Id="rId3" Type="http://schemas.openxmlformats.org/officeDocument/2006/relationships/slideLayout" Target="../slideLayouts/slideLayout134.xml"/><Relationship Id="rId21" Type="http://schemas.openxmlformats.org/officeDocument/2006/relationships/slideLayout" Target="../slideLayouts/slideLayout152.xml"/><Relationship Id="rId7" Type="http://schemas.openxmlformats.org/officeDocument/2006/relationships/slideLayout" Target="../slideLayouts/slideLayout138.xml"/><Relationship Id="rId12" Type="http://schemas.openxmlformats.org/officeDocument/2006/relationships/slideLayout" Target="../slideLayouts/slideLayout143.xml"/><Relationship Id="rId17" Type="http://schemas.openxmlformats.org/officeDocument/2006/relationships/slideLayout" Target="../slideLayouts/slideLayout148.xml"/><Relationship Id="rId25" Type="http://schemas.openxmlformats.org/officeDocument/2006/relationships/theme" Target="../theme/theme8.xml"/><Relationship Id="rId2" Type="http://schemas.openxmlformats.org/officeDocument/2006/relationships/slideLayout" Target="../slideLayouts/slideLayout133.xml"/><Relationship Id="rId16" Type="http://schemas.openxmlformats.org/officeDocument/2006/relationships/slideLayout" Target="../slideLayouts/slideLayout147.xml"/><Relationship Id="rId20" Type="http://schemas.openxmlformats.org/officeDocument/2006/relationships/slideLayout" Target="../slideLayouts/slideLayout151.xml"/><Relationship Id="rId1" Type="http://schemas.openxmlformats.org/officeDocument/2006/relationships/slideLayout" Target="../slideLayouts/slideLayout132.xml"/><Relationship Id="rId6" Type="http://schemas.openxmlformats.org/officeDocument/2006/relationships/slideLayout" Target="../slideLayouts/slideLayout137.xml"/><Relationship Id="rId11" Type="http://schemas.openxmlformats.org/officeDocument/2006/relationships/slideLayout" Target="../slideLayouts/slideLayout142.xml"/><Relationship Id="rId24" Type="http://schemas.openxmlformats.org/officeDocument/2006/relationships/slideLayout" Target="../slideLayouts/slideLayout155.xml"/><Relationship Id="rId5" Type="http://schemas.openxmlformats.org/officeDocument/2006/relationships/slideLayout" Target="../slideLayouts/slideLayout136.xml"/><Relationship Id="rId15" Type="http://schemas.openxmlformats.org/officeDocument/2006/relationships/slideLayout" Target="../slideLayouts/slideLayout146.xml"/><Relationship Id="rId23" Type="http://schemas.openxmlformats.org/officeDocument/2006/relationships/slideLayout" Target="../slideLayouts/slideLayout154.xml"/><Relationship Id="rId10" Type="http://schemas.openxmlformats.org/officeDocument/2006/relationships/slideLayout" Target="../slideLayouts/slideLayout141.xml"/><Relationship Id="rId19" Type="http://schemas.openxmlformats.org/officeDocument/2006/relationships/slideLayout" Target="../slideLayouts/slideLayout150.xml"/><Relationship Id="rId4" Type="http://schemas.openxmlformats.org/officeDocument/2006/relationships/slideLayout" Target="../slideLayouts/slideLayout135.xml"/><Relationship Id="rId9" Type="http://schemas.openxmlformats.org/officeDocument/2006/relationships/slideLayout" Target="../slideLayouts/slideLayout140.xml"/><Relationship Id="rId14" Type="http://schemas.openxmlformats.org/officeDocument/2006/relationships/slideLayout" Target="../slideLayouts/slideLayout145.xml"/><Relationship Id="rId22" Type="http://schemas.openxmlformats.org/officeDocument/2006/relationships/slideLayout" Target="../slideLayouts/slideLayout153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3.xml"/><Relationship Id="rId3" Type="http://schemas.openxmlformats.org/officeDocument/2006/relationships/slideLayout" Target="../slideLayouts/slideLayout158.xml"/><Relationship Id="rId7" Type="http://schemas.openxmlformats.org/officeDocument/2006/relationships/slideLayout" Target="../slideLayouts/slideLayout162.xml"/><Relationship Id="rId12" Type="http://schemas.openxmlformats.org/officeDocument/2006/relationships/theme" Target="../theme/theme9.xml"/><Relationship Id="rId2" Type="http://schemas.openxmlformats.org/officeDocument/2006/relationships/slideLayout" Target="../slideLayouts/slideLayout157.xml"/><Relationship Id="rId1" Type="http://schemas.openxmlformats.org/officeDocument/2006/relationships/slideLayout" Target="../slideLayouts/slideLayout156.xml"/><Relationship Id="rId6" Type="http://schemas.openxmlformats.org/officeDocument/2006/relationships/slideLayout" Target="../slideLayouts/slideLayout161.xml"/><Relationship Id="rId11" Type="http://schemas.openxmlformats.org/officeDocument/2006/relationships/slideLayout" Target="../slideLayouts/slideLayout166.xml"/><Relationship Id="rId5" Type="http://schemas.openxmlformats.org/officeDocument/2006/relationships/slideLayout" Target="../slideLayouts/slideLayout160.xml"/><Relationship Id="rId10" Type="http://schemas.openxmlformats.org/officeDocument/2006/relationships/slideLayout" Target="../slideLayouts/slideLayout165.xml"/><Relationship Id="rId4" Type="http://schemas.openxmlformats.org/officeDocument/2006/relationships/slideLayout" Target="../slideLayouts/slideLayout159.xml"/><Relationship Id="rId9" Type="http://schemas.openxmlformats.org/officeDocument/2006/relationships/slideLayout" Target="../slideLayouts/slideLayout16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4639" y="295274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74640" y="1212851"/>
            <a:ext cx="11887198" cy="2092881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3" name="Group 2"/>
          <p:cNvGrpSpPr/>
          <p:nvPr userDrawn="1"/>
        </p:nvGrpSpPr>
        <p:grpSpPr>
          <a:xfrm>
            <a:off x="12618967" y="0"/>
            <a:ext cx="952401" cy="5766967"/>
            <a:chOff x="12618967" y="0"/>
            <a:chExt cx="952401" cy="5766967"/>
          </a:xfrm>
        </p:grpSpPr>
        <p:grpSp>
          <p:nvGrpSpPr>
            <p:cNvPr id="26" name="Group 25"/>
            <p:cNvGrpSpPr/>
            <p:nvPr userDrawn="1"/>
          </p:nvGrpSpPr>
          <p:grpSpPr>
            <a:xfrm rot="5400000">
              <a:off x="11584220" y="1040742"/>
              <a:ext cx="2698730" cy="629236"/>
              <a:chOff x="1584344" y="4543426"/>
              <a:chExt cx="2698730" cy="629236"/>
            </a:xfrm>
          </p:grpSpPr>
          <p:sp>
            <p:nvSpPr>
              <p:cNvPr id="37" name="Rectangle 36"/>
              <p:cNvSpPr/>
              <p:nvPr userDrawn="1"/>
            </p:nvSpPr>
            <p:spPr bwMode="auto">
              <a:xfrm>
                <a:off x="1586734" y="4543428"/>
                <a:ext cx="869930" cy="289766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 defTabSz="932472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b="1" kern="1200" baseline="0" dirty="0" err="1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Oragen</a:t>
                </a:r>
                <a:endParaRPr lang="en-US" sz="500" b="1" kern="1200" baseline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+mn-lt"/>
                  <a:ea typeface="Segoe UI" pitchFamily="34" charset="0"/>
                  <a:cs typeface="Segoe UI" pitchFamily="34" charset="0"/>
                </a:endParaRPr>
              </a:p>
              <a:p>
                <a:pPr algn="l" defTabSz="932472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R:</a:t>
                </a:r>
                <a:r>
                  <a:rPr lang="en-US" sz="500" baseline="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216 G:59 B:1</a:t>
                </a:r>
                <a:endParaRPr lang="en-US" sz="50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41" name="Rectangle 40"/>
              <p:cNvSpPr/>
              <p:nvPr userDrawn="1"/>
            </p:nvSpPr>
            <p:spPr bwMode="auto">
              <a:xfrm>
                <a:off x="2505456" y="4543427"/>
                <a:ext cx="869930" cy="289766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 defTabSz="932472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b="1" kern="1200" baseline="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Blue</a:t>
                </a:r>
              </a:p>
              <a:p>
                <a:pPr marL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kern="1200" dirty="0">
                    <a:gradFill>
                      <a:gsLst>
                        <a:gs pos="2092">
                          <a:srgbClr val="F8F8F8"/>
                        </a:gs>
                        <a:gs pos="10042">
                          <a:srgbClr val="F8F8F8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R:0 G:120 B:215</a:t>
                </a:r>
              </a:p>
            </p:txBody>
          </p:sp>
          <p:sp>
            <p:nvSpPr>
              <p:cNvPr id="42" name="Rectangle 41"/>
              <p:cNvSpPr/>
              <p:nvPr userDrawn="1"/>
            </p:nvSpPr>
            <p:spPr bwMode="auto">
              <a:xfrm>
                <a:off x="3413144" y="4543426"/>
                <a:ext cx="869930" cy="289766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b="1" kern="1200" baseline="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Dark Gray</a:t>
                </a:r>
              </a:p>
              <a:p>
                <a:pPr marL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kern="1200" dirty="0">
                    <a:gradFill>
                      <a:gsLst>
                        <a:gs pos="2092">
                          <a:srgbClr val="F8F8F8"/>
                        </a:gs>
                        <a:gs pos="10042">
                          <a:srgbClr val="F8F8F8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R:80 G:80 B:80</a:t>
                </a:r>
              </a:p>
            </p:txBody>
          </p:sp>
          <p:sp>
            <p:nvSpPr>
              <p:cNvPr id="43" name="Rectangle 42"/>
              <p:cNvSpPr/>
              <p:nvPr userDrawn="1"/>
            </p:nvSpPr>
            <p:spPr bwMode="auto">
              <a:xfrm>
                <a:off x="2498744" y="4882896"/>
                <a:ext cx="869930" cy="289766"/>
              </a:xfrm>
              <a:prstGeom prst="rect">
                <a:avLst/>
              </a:prstGeom>
              <a:solidFill>
                <a:schemeClr val="accent5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b="1" kern="1200" baseline="0" dirty="0">
                    <a:gradFill>
                      <a:gsLst>
                        <a:gs pos="37168">
                          <a:srgbClr val="292929"/>
                        </a:gs>
                        <a:gs pos="72000">
                          <a:srgbClr val="292929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Yellow</a:t>
                </a:r>
              </a:p>
              <a:p>
                <a:pPr marL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kern="1200" dirty="0">
                    <a:gradFill>
                      <a:gsLst>
                        <a:gs pos="37168">
                          <a:srgbClr val="292929"/>
                        </a:gs>
                        <a:gs pos="72000">
                          <a:srgbClr val="292929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R:255 G:185 B:0</a:t>
                </a:r>
              </a:p>
            </p:txBody>
          </p:sp>
          <p:sp>
            <p:nvSpPr>
              <p:cNvPr id="44" name="Rectangle 43"/>
              <p:cNvSpPr/>
              <p:nvPr userDrawn="1"/>
            </p:nvSpPr>
            <p:spPr bwMode="auto">
              <a:xfrm>
                <a:off x="3413144" y="4882895"/>
                <a:ext cx="869930" cy="289766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b="1" kern="1200" baseline="0" dirty="0">
                    <a:gradFill>
                      <a:gsLst>
                        <a:gs pos="37168">
                          <a:srgbClr val="292929"/>
                        </a:gs>
                        <a:gs pos="72000">
                          <a:srgbClr val="292929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Light Orange</a:t>
                </a:r>
              </a:p>
              <a:p>
                <a:pPr marL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kern="1200" dirty="0">
                    <a:gradFill>
                      <a:gsLst>
                        <a:gs pos="37168">
                          <a:srgbClr val="292929"/>
                        </a:gs>
                        <a:gs pos="72000">
                          <a:srgbClr val="292929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R:255 G:140 B:0</a:t>
                </a:r>
              </a:p>
            </p:txBody>
          </p:sp>
          <p:sp>
            <p:nvSpPr>
              <p:cNvPr id="45" name="Rectangle 44"/>
              <p:cNvSpPr/>
              <p:nvPr userDrawn="1"/>
            </p:nvSpPr>
            <p:spPr bwMode="auto">
              <a:xfrm>
                <a:off x="1584344" y="4882896"/>
                <a:ext cx="869930" cy="289766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b="1" kern="1200" baseline="0" dirty="0">
                    <a:gradFill>
                      <a:gsLst>
                        <a:gs pos="37168">
                          <a:srgbClr val="292929"/>
                        </a:gs>
                        <a:gs pos="72000">
                          <a:srgbClr val="292929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Light Gray</a:t>
                </a:r>
              </a:p>
              <a:p>
                <a:pPr algn="l" defTabSz="932472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dirty="0">
                    <a:gradFill>
                      <a:gsLst>
                        <a:gs pos="37168">
                          <a:srgbClr val="292929"/>
                        </a:gs>
                        <a:gs pos="72000">
                          <a:srgbClr val="292929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R:</a:t>
                </a:r>
                <a:r>
                  <a:rPr lang="en-US" sz="500" baseline="0" dirty="0">
                    <a:gradFill>
                      <a:gsLst>
                        <a:gs pos="37168">
                          <a:srgbClr val="292929"/>
                        </a:gs>
                        <a:gs pos="72000">
                          <a:srgbClr val="292929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210 G:210 B:210</a:t>
                </a:r>
                <a:endParaRPr lang="en-US" sz="500" dirty="0">
                  <a:gradFill>
                    <a:gsLst>
                      <a:gs pos="37168">
                        <a:srgbClr val="292929"/>
                      </a:gs>
                      <a:gs pos="72000">
                        <a:srgbClr val="292929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</p:grpSp>
        <p:sp>
          <p:nvSpPr>
            <p:cNvPr id="28" name="TextBox 27"/>
            <p:cNvSpPr txBox="1"/>
            <p:nvPr userDrawn="1"/>
          </p:nvSpPr>
          <p:spPr>
            <a:xfrm rot="5400000">
              <a:off x="12988035" y="260168"/>
              <a:ext cx="843501" cy="323165"/>
            </a:xfrm>
            <a:prstGeom prst="rect">
              <a:avLst/>
            </a:prstGeom>
            <a:noFill/>
          </p:spPr>
          <p:txBody>
            <a:bodyPr wrap="none" lIns="0" tIns="91440" rIns="182880" bIns="91440" rtlCol="0">
              <a:spAutoFit/>
            </a:bodyPr>
            <a:lstStyle/>
            <a:p>
              <a:pPr marL="0" algn="l" defTabSz="932742" rtl="0" eaLnBrk="1" latinLnBrk="0" hangingPunct="1">
                <a:lnSpc>
                  <a:spcPct val="90000"/>
                </a:lnSpc>
                <a:spcAft>
                  <a:spcPts val="600"/>
                </a:spcAft>
              </a:pPr>
              <a:r>
                <a:rPr lang="en-US" sz="1000" kern="1200" dirty="0">
                  <a:gradFill>
                    <a:gsLst>
                      <a:gs pos="82301">
                        <a:srgbClr val="292929"/>
                      </a:gs>
                      <a:gs pos="62000">
                        <a:srgbClr val="292929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rPr>
                <a:t>Main colors</a:t>
              </a:r>
            </a:p>
          </p:txBody>
        </p:sp>
        <p:sp>
          <p:nvSpPr>
            <p:cNvPr id="32" name="TextBox 31"/>
            <p:cNvSpPr txBox="1"/>
            <p:nvPr userDrawn="1"/>
          </p:nvSpPr>
          <p:spPr>
            <a:xfrm rot="5400000">
              <a:off x="11742070" y="4230580"/>
              <a:ext cx="2656496" cy="323165"/>
            </a:xfrm>
            <a:prstGeom prst="rect">
              <a:avLst/>
            </a:prstGeom>
            <a:noFill/>
          </p:spPr>
          <p:txBody>
            <a:bodyPr wrap="none" lIns="0" tIns="91440" rIns="182880" bIns="91440" rtlCol="0">
              <a:spAutoFit/>
            </a:bodyPr>
            <a:lstStyle/>
            <a:p>
              <a:pPr marL="0" algn="l" defTabSz="932742" rtl="0" eaLnBrk="1" latinLnBrk="0" hangingPunct="1">
                <a:lnSpc>
                  <a:spcPct val="90000"/>
                </a:lnSpc>
                <a:spcAft>
                  <a:spcPts val="600"/>
                </a:spcAft>
              </a:pPr>
              <a:r>
                <a:rPr lang="en-US" sz="1000" kern="1200" dirty="0">
                  <a:gradFill>
                    <a:gsLst>
                      <a:gs pos="82301">
                        <a:srgbClr val="292929"/>
                      </a:gs>
                      <a:gs pos="62000">
                        <a:srgbClr val="292929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rPr>
                <a:t>Secondary colors (use only when necessary)</a:t>
              </a:r>
            </a:p>
          </p:txBody>
        </p:sp>
        <p:sp>
          <p:nvSpPr>
            <p:cNvPr id="22" name="Rectangle 21"/>
            <p:cNvSpPr/>
            <p:nvPr userDrawn="1"/>
          </p:nvSpPr>
          <p:spPr bwMode="auto">
            <a:xfrm rot="5400000">
              <a:off x="12328888" y="5187119"/>
              <a:ext cx="869930" cy="289766"/>
            </a:xfrm>
            <a:prstGeom prst="rect">
              <a:avLst/>
            </a:prstGeom>
            <a:solidFill>
              <a:srgbClr val="A80000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500" b="1" kern="1200" baseline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+mn-lt"/>
                  <a:ea typeface="Segoe UI" pitchFamily="34" charset="0"/>
                  <a:cs typeface="Segoe UI" pitchFamily="34" charset="0"/>
                </a:rPr>
                <a:t>Dark Red</a:t>
              </a:r>
            </a:p>
            <a:p>
              <a:pPr algn="l" defTabSz="932472"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500" dirty="0">
                  <a:gradFill>
                    <a:gsLst>
                      <a:gs pos="2092">
                        <a:srgbClr val="F8F8F8"/>
                      </a:gs>
                      <a:gs pos="10042">
                        <a:srgbClr val="F8F8F8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rPr>
                <a:t>R:</a:t>
              </a:r>
              <a:r>
                <a:rPr lang="en-US" sz="500" baseline="0" dirty="0">
                  <a:gradFill>
                    <a:gsLst>
                      <a:gs pos="2092">
                        <a:srgbClr val="F8F8F8"/>
                      </a:gs>
                      <a:gs pos="10042">
                        <a:srgbClr val="F8F8F8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rPr>
                <a:t>168 G:0 B:0</a:t>
              </a:r>
              <a:endParaRPr lang="en-US" sz="500" dirty="0">
                <a:gradFill>
                  <a:gsLst>
                    <a:gs pos="2092">
                      <a:srgbClr val="F8F8F8"/>
                    </a:gs>
                    <a:gs pos="10042">
                      <a:srgbClr val="F8F8F8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3" name="Rectangle 22"/>
            <p:cNvSpPr/>
            <p:nvPr userDrawn="1"/>
          </p:nvSpPr>
          <p:spPr bwMode="auto">
            <a:xfrm rot="5400000">
              <a:off x="12328888" y="3353997"/>
              <a:ext cx="869930" cy="289766"/>
            </a:xfrm>
            <a:prstGeom prst="rect">
              <a:avLst/>
            </a:prstGeom>
            <a:solidFill>
              <a:srgbClr val="00BCF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500" b="1" kern="1200" baseline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+mn-lt"/>
                  <a:ea typeface="Segoe UI" pitchFamily="34" charset="0"/>
                  <a:cs typeface="Segoe UI" pitchFamily="34" charset="0"/>
                </a:rPr>
                <a:t>Light Blue</a:t>
              </a:r>
            </a:p>
            <a:p>
              <a:pPr algn="l" defTabSz="932472"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500" dirty="0">
                  <a:gradFill>
                    <a:gsLst>
                      <a:gs pos="2092">
                        <a:srgbClr val="F8F8F8"/>
                      </a:gs>
                      <a:gs pos="10042">
                        <a:srgbClr val="F8F8F8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rPr>
                <a:t>R:16</a:t>
              </a:r>
              <a:r>
                <a:rPr lang="en-US" sz="500" baseline="0" dirty="0">
                  <a:gradFill>
                    <a:gsLst>
                      <a:gs pos="2092">
                        <a:srgbClr val="F8F8F8"/>
                      </a:gs>
                      <a:gs pos="10042">
                        <a:srgbClr val="F8F8F8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rPr>
                <a:t> G:124 B:16</a:t>
              </a:r>
              <a:endParaRPr lang="en-US" sz="500" dirty="0">
                <a:gradFill>
                  <a:gsLst>
                    <a:gs pos="2092">
                      <a:srgbClr val="F8F8F8"/>
                    </a:gs>
                    <a:gs pos="10042">
                      <a:srgbClr val="F8F8F8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4" name="Rectangle 23"/>
            <p:cNvSpPr/>
            <p:nvPr userDrawn="1"/>
          </p:nvSpPr>
          <p:spPr bwMode="auto">
            <a:xfrm rot="5400000">
              <a:off x="12328888" y="4272719"/>
              <a:ext cx="869930" cy="289766"/>
            </a:xfrm>
            <a:prstGeom prst="rect">
              <a:avLst/>
            </a:prstGeom>
            <a:solidFill>
              <a:srgbClr val="002050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500" b="1" kern="1200" baseline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+mn-lt"/>
                  <a:ea typeface="Segoe UI" pitchFamily="34" charset="0"/>
                  <a:cs typeface="Segoe UI" pitchFamily="34" charset="0"/>
                </a:rPr>
                <a:t>Dark Blue</a:t>
              </a:r>
            </a:p>
            <a:p>
              <a:pPr algn="l" defTabSz="932472"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500" dirty="0">
                  <a:gradFill>
                    <a:gsLst>
                      <a:gs pos="2092">
                        <a:srgbClr val="F8F8F8"/>
                      </a:gs>
                      <a:gs pos="10042">
                        <a:srgbClr val="F8F8F8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rPr>
                <a:t>R0 G32 B80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5884276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00" r:id="rId1"/>
    <p:sldLayoutId id="2147484295" r:id="rId2"/>
    <p:sldLayoutId id="2147484240" r:id="rId3"/>
    <p:sldLayoutId id="2147484296" r:id="rId4"/>
    <p:sldLayoutId id="2147484241" r:id="rId5"/>
    <p:sldLayoutId id="2147484297" r:id="rId6"/>
    <p:sldLayoutId id="2147484244" r:id="rId7"/>
    <p:sldLayoutId id="2147484298" r:id="rId8"/>
    <p:sldLayoutId id="2147484245" r:id="rId9"/>
    <p:sldLayoutId id="2147484247" r:id="rId10"/>
    <p:sldLayoutId id="2147484331" r:id="rId11"/>
    <p:sldLayoutId id="2147484249" r:id="rId12"/>
    <p:sldLayoutId id="2147484301" r:id="rId13"/>
    <p:sldLayoutId id="2147484251" r:id="rId14"/>
    <p:sldLayoutId id="2147484252" r:id="rId15"/>
    <p:sldLayoutId id="2147484254" r:id="rId16"/>
    <p:sldLayoutId id="2147484257" r:id="rId17"/>
    <p:sldLayoutId id="2147484258" r:id="rId18"/>
    <p:sldLayoutId id="2147484260" r:id="rId19"/>
    <p:sldLayoutId id="2147484299" r:id="rId20"/>
    <p:sldLayoutId id="2147484263" r:id="rId21"/>
  </p:sldLayoutIdLst>
  <p:transition>
    <p:fade/>
  </p:transition>
  <p:txStyles>
    <p:titleStyle>
      <a:lvl1pPr algn="l" defTabSz="932742" rtl="0" eaLnBrk="1" latinLnBrk="0" hangingPunct="1">
        <a:lnSpc>
          <a:spcPct val="90000"/>
        </a:lnSpc>
        <a:spcBef>
          <a:spcPct val="0"/>
        </a:spcBef>
        <a:buNone/>
        <a:defRPr lang="en-US" sz="4800" b="0" kern="1200" cap="none" spc="-102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42900" marR="0" indent="-3429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4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84200" marR="0" indent="-2413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8001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287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573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 userDrawn="1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 userDrawn="1">
          <p15:clr>
            <a:srgbClr val="C35EA4"/>
          </p15:clr>
        </p15:guide>
        <p15:guide id="17" pos="7546" userDrawn="1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 userDrawn="1">
          <p15:clr>
            <a:srgbClr val="5ACBF0"/>
          </p15:clr>
        </p15:guide>
        <p15:guide id="25" orient="horz" pos="302" userDrawn="1">
          <p15:clr>
            <a:srgbClr val="C35EA4"/>
          </p15:clr>
        </p15:guide>
        <p15:guide id="26" orient="horz" pos="4104" userDrawn="1">
          <p15:clr>
            <a:srgbClr val="C35EA4"/>
          </p15:clr>
        </p15:guide>
      </p15:sldGuideLst>
    </p:ext>
  </p:extLst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4639" y="295275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74641" y="1212852"/>
            <a:ext cx="11887198" cy="2134413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marL="342834" marR="0" lvl="0" indent="-342834" algn="l" defTabSz="932563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</a:pPr>
            <a:r>
              <a:rPr lang="en-US" dirty="0"/>
              <a:t>Click to edit Master text styles</a:t>
            </a:r>
          </a:p>
          <a:p>
            <a:pPr marL="584088" marR="0" lvl="1" indent="-241253" algn="l" defTabSz="932563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</a:pPr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3" name="Group 2"/>
          <p:cNvGrpSpPr/>
          <p:nvPr userDrawn="1"/>
        </p:nvGrpSpPr>
        <p:grpSpPr>
          <a:xfrm>
            <a:off x="12618964" y="-8395"/>
            <a:ext cx="955641" cy="5775363"/>
            <a:chOff x="12618967" y="-8396"/>
            <a:chExt cx="955641" cy="5775363"/>
          </a:xfrm>
        </p:grpSpPr>
        <p:grpSp>
          <p:nvGrpSpPr>
            <p:cNvPr id="19" name="Group 18"/>
            <p:cNvGrpSpPr/>
            <p:nvPr userDrawn="1"/>
          </p:nvGrpSpPr>
          <p:grpSpPr>
            <a:xfrm rot="5400000">
              <a:off x="11584220" y="1040742"/>
              <a:ext cx="2698730" cy="629236"/>
              <a:chOff x="1584344" y="4543426"/>
              <a:chExt cx="2698730" cy="629236"/>
            </a:xfrm>
          </p:grpSpPr>
          <p:sp>
            <p:nvSpPr>
              <p:cNvPr id="25" name="Rectangle 24"/>
              <p:cNvSpPr/>
              <p:nvPr userDrawn="1"/>
            </p:nvSpPr>
            <p:spPr bwMode="auto">
              <a:xfrm>
                <a:off x="1586734" y="4543428"/>
                <a:ext cx="869930" cy="289766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 defTabSz="932293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b="1" kern="1200" baseline="0" dirty="0" err="1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Oragen</a:t>
                </a:r>
                <a:endParaRPr lang="en-US" sz="500" b="1" kern="1200" baseline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+mn-lt"/>
                  <a:ea typeface="Segoe UI" pitchFamily="34" charset="0"/>
                  <a:cs typeface="Segoe UI" pitchFamily="34" charset="0"/>
                </a:endParaRPr>
              </a:p>
              <a:p>
                <a:pPr algn="l" defTabSz="932293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R:</a:t>
                </a:r>
                <a:r>
                  <a:rPr lang="en-US" sz="500" baseline="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216 G:59 B:1</a:t>
                </a:r>
                <a:endParaRPr lang="en-US" sz="50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26" name="Rectangle 25"/>
              <p:cNvSpPr/>
              <p:nvPr userDrawn="1"/>
            </p:nvSpPr>
            <p:spPr bwMode="auto">
              <a:xfrm>
                <a:off x="2505456" y="4543427"/>
                <a:ext cx="869930" cy="289766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 defTabSz="932293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b="1" kern="1200" baseline="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Blue</a:t>
                </a:r>
              </a:p>
              <a:p>
                <a:pPr marL="0" algn="l" defTabSz="932293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kern="1200" dirty="0">
                    <a:gradFill>
                      <a:gsLst>
                        <a:gs pos="2092">
                          <a:srgbClr val="F8F8F8"/>
                        </a:gs>
                        <a:gs pos="10042">
                          <a:srgbClr val="F8F8F8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R:0 G:120 B:215</a:t>
                </a:r>
              </a:p>
            </p:txBody>
          </p:sp>
          <p:sp>
            <p:nvSpPr>
              <p:cNvPr id="27" name="Rectangle 26"/>
              <p:cNvSpPr/>
              <p:nvPr userDrawn="1"/>
            </p:nvSpPr>
            <p:spPr bwMode="auto">
              <a:xfrm>
                <a:off x="3413144" y="4543426"/>
                <a:ext cx="869930" cy="289766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algn="l" defTabSz="932293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b="1" kern="1200" baseline="0" dirty="0">
                    <a:gradFill>
                      <a:gsLst>
                        <a:gs pos="37168">
                          <a:srgbClr val="292929"/>
                        </a:gs>
                        <a:gs pos="72000">
                          <a:srgbClr val="292929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Light Gray</a:t>
                </a:r>
              </a:p>
              <a:p>
                <a:pPr marL="0" algn="l" defTabSz="932293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b="0" kern="1200" baseline="0" dirty="0">
                    <a:gradFill>
                      <a:gsLst>
                        <a:gs pos="37168">
                          <a:srgbClr val="292929"/>
                        </a:gs>
                        <a:gs pos="72000">
                          <a:srgbClr val="292929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R:210 G:210 B:210</a:t>
                </a:r>
              </a:p>
            </p:txBody>
          </p:sp>
          <p:sp>
            <p:nvSpPr>
              <p:cNvPr id="28" name="Rectangle 27"/>
              <p:cNvSpPr/>
              <p:nvPr userDrawn="1"/>
            </p:nvSpPr>
            <p:spPr bwMode="auto">
              <a:xfrm>
                <a:off x="2498744" y="4882896"/>
                <a:ext cx="869930" cy="289766"/>
              </a:xfrm>
              <a:prstGeom prst="rect">
                <a:avLst/>
              </a:prstGeom>
              <a:solidFill>
                <a:schemeClr val="accent5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algn="l" defTabSz="932293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b="1" kern="1200" baseline="0" dirty="0">
                    <a:gradFill>
                      <a:gsLst>
                        <a:gs pos="37168">
                          <a:srgbClr val="292929"/>
                        </a:gs>
                        <a:gs pos="72000">
                          <a:srgbClr val="292929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Light Orange</a:t>
                </a:r>
              </a:p>
              <a:p>
                <a:pPr marL="0" algn="l" defTabSz="932293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kern="1200" dirty="0">
                    <a:gradFill>
                      <a:gsLst>
                        <a:gs pos="37168">
                          <a:srgbClr val="292929"/>
                        </a:gs>
                        <a:gs pos="72000">
                          <a:srgbClr val="292929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R:255 G:140 B:0</a:t>
                </a:r>
              </a:p>
            </p:txBody>
          </p:sp>
          <p:sp>
            <p:nvSpPr>
              <p:cNvPr id="29" name="Rectangle 28"/>
              <p:cNvSpPr/>
              <p:nvPr userDrawn="1"/>
            </p:nvSpPr>
            <p:spPr bwMode="auto">
              <a:xfrm>
                <a:off x="3413144" y="4882895"/>
                <a:ext cx="869930" cy="289766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algn="l" defTabSz="932293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b="1" kern="1200" baseline="0" dirty="0">
                    <a:gradFill>
                      <a:gsLst>
                        <a:gs pos="37168">
                          <a:srgbClr val="292929"/>
                        </a:gs>
                        <a:gs pos="72000">
                          <a:srgbClr val="292929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Light Blue</a:t>
                </a:r>
              </a:p>
              <a:p>
                <a:pPr marL="0" algn="l" defTabSz="932293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b="0" kern="1200" baseline="0" dirty="0">
                    <a:gradFill>
                      <a:gsLst>
                        <a:gs pos="37168">
                          <a:srgbClr val="292929"/>
                        </a:gs>
                        <a:gs pos="72000">
                          <a:srgbClr val="292929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R:16 G:124 B:16</a:t>
                </a:r>
              </a:p>
            </p:txBody>
          </p:sp>
          <p:sp>
            <p:nvSpPr>
              <p:cNvPr id="30" name="Rectangle 29"/>
              <p:cNvSpPr/>
              <p:nvPr userDrawn="1"/>
            </p:nvSpPr>
            <p:spPr bwMode="auto">
              <a:xfrm>
                <a:off x="1584344" y="4882896"/>
                <a:ext cx="869930" cy="289766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algn="l" defTabSz="932293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b="1" kern="1200" baseline="0" dirty="0">
                    <a:gradFill>
                      <a:gsLst>
                        <a:gs pos="37168">
                          <a:srgbClr val="292929"/>
                        </a:gs>
                        <a:gs pos="72000">
                          <a:srgbClr val="292929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Yellow</a:t>
                </a:r>
              </a:p>
              <a:p>
                <a:pPr marL="0" algn="l" defTabSz="932293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b="0" kern="1200" baseline="0" dirty="0">
                    <a:gradFill>
                      <a:gsLst>
                        <a:gs pos="37168">
                          <a:srgbClr val="292929"/>
                        </a:gs>
                        <a:gs pos="72000">
                          <a:srgbClr val="292929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R:255 G:185 B:0</a:t>
                </a:r>
              </a:p>
            </p:txBody>
          </p:sp>
        </p:grpSp>
        <p:sp>
          <p:nvSpPr>
            <p:cNvPr id="20" name="TextBox 19"/>
            <p:cNvSpPr txBox="1"/>
            <p:nvPr userDrawn="1"/>
          </p:nvSpPr>
          <p:spPr>
            <a:xfrm rot="5400000">
              <a:off x="12979639" y="256928"/>
              <a:ext cx="860293" cy="329645"/>
            </a:xfrm>
            <a:prstGeom prst="rect">
              <a:avLst/>
            </a:prstGeom>
            <a:noFill/>
          </p:spPr>
          <p:txBody>
            <a:bodyPr wrap="none" lIns="0" tIns="91440" rIns="182880" bIns="91440" rtlCol="0">
              <a:spAutoFit/>
            </a:bodyPr>
            <a:lstStyle/>
            <a:p>
              <a:pPr marL="0" algn="l" defTabSz="932563" rtl="0" eaLnBrk="1" latinLnBrk="0" hangingPunct="1">
                <a:lnSpc>
                  <a:spcPct val="90000"/>
                </a:lnSpc>
                <a:spcAft>
                  <a:spcPts val="600"/>
                </a:spcAft>
              </a:pPr>
              <a:r>
                <a:rPr lang="en-US" sz="1000" kern="1200" dirty="0">
                  <a:gradFill>
                    <a:gsLst>
                      <a:gs pos="82301">
                        <a:srgbClr val="292929"/>
                      </a:gs>
                      <a:gs pos="62000">
                        <a:srgbClr val="292929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rPr>
                <a:t>Main colors</a:t>
              </a:r>
            </a:p>
          </p:txBody>
        </p:sp>
        <p:sp>
          <p:nvSpPr>
            <p:cNvPr id="21" name="TextBox 20"/>
            <p:cNvSpPr txBox="1"/>
            <p:nvPr userDrawn="1"/>
          </p:nvSpPr>
          <p:spPr>
            <a:xfrm rot="5400000">
              <a:off x="11715628" y="4227340"/>
              <a:ext cx="2709380" cy="329645"/>
            </a:xfrm>
            <a:prstGeom prst="rect">
              <a:avLst/>
            </a:prstGeom>
            <a:noFill/>
          </p:spPr>
          <p:txBody>
            <a:bodyPr wrap="none" lIns="0" tIns="91440" rIns="182880" bIns="91440" rtlCol="0">
              <a:spAutoFit/>
            </a:bodyPr>
            <a:lstStyle/>
            <a:p>
              <a:pPr marL="0" algn="l" defTabSz="932563" rtl="0" eaLnBrk="1" latinLnBrk="0" hangingPunct="1">
                <a:lnSpc>
                  <a:spcPct val="90000"/>
                </a:lnSpc>
                <a:spcAft>
                  <a:spcPts val="600"/>
                </a:spcAft>
              </a:pPr>
              <a:r>
                <a:rPr lang="en-US" sz="1000" kern="1200" dirty="0">
                  <a:gradFill>
                    <a:gsLst>
                      <a:gs pos="82301">
                        <a:srgbClr val="292929"/>
                      </a:gs>
                      <a:gs pos="62000">
                        <a:srgbClr val="292929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rPr>
                <a:t>Secondary colors (use only when necessary)</a:t>
              </a:r>
            </a:p>
          </p:txBody>
        </p:sp>
        <p:sp>
          <p:nvSpPr>
            <p:cNvPr id="22" name="Rectangle 21"/>
            <p:cNvSpPr/>
            <p:nvPr userDrawn="1"/>
          </p:nvSpPr>
          <p:spPr bwMode="auto">
            <a:xfrm rot="5400000">
              <a:off x="12328888" y="5187119"/>
              <a:ext cx="869930" cy="289766"/>
            </a:xfrm>
            <a:prstGeom prst="rect">
              <a:avLst/>
            </a:prstGeom>
            <a:solidFill>
              <a:srgbClr val="BAD80A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algn="l" defTabSz="9322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500" b="1" kern="1200" baseline="0" dirty="0">
                  <a:gradFill>
                    <a:gsLst>
                      <a:gs pos="37168">
                        <a:srgbClr val="292929"/>
                      </a:gs>
                      <a:gs pos="72000">
                        <a:srgbClr val="292929"/>
                      </a:gs>
                    </a:gsLst>
                    <a:lin ang="5400000" scaled="0"/>
                  </a:gradFill>
                  <a:latin typeface="+mn-lt"/>
                  <a:ea typeface="Segoe UI" pitchFamily="34" charset="0"/>
                  <a:cs typeface="Segoe UI" pitchFamily="34" charset="0"/>
                </a:rPr>
                <a:t>Light Green </a:t>
              </a:r>
            </a:p>
            <a:p>
              <a:pPr marL="0" algn="l" defTabSz="9322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500" b="0" kern="1200" baseline="0" dirty="0">
                  <a:gradFill>
                    <a:gsLst>
                      <a:gs pos="37168">
                        <a:srgbClr val="292929"/>
                      </a:gs>
                      <a:gs pos="72000">
                        <a:srgbClr val="292929"/>
                      </a:gs>
                    </a:gsLst>
                    <a:lin ang="5400000" scaled="0"/>
                  </a:gradFill>
                  <a:latin typeface="+mn-lt"/>
                  <a:ea typeface="Segoe UI" pitchFamily="34" charset="0"/>
                  <a:cs typeface="Segoe UI" pitchFamily="34" charset="0"/>
                </a:rPr>
                <a:t>R:168 G:216 B:10</a:t>
              </a:r>
            </a:p>
          </p:txBody>
        </p:sp>
        <p:sp>
          <p:nvSpPr>
            <p:cNvPr id="31" name="Rectangle 30"/>
            <p:cNvSpPr/>
            <p:nvPr userDrawn="1"/>
          </p:nvSpPr>
          <p:spPr bwMode="auto">
            <a:xfrm rot="5400000">
              <a:off x="12328888" y="4270558"/>
              <a:ext cx="869930" cy="289766"/>
            </a:xfrm>
            <a:prstGeom prst="rect">
              <a:avLst/>
            </a:prstGeom>
            <a:solidFill>
              <a:srgbClr val="A80000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algn="l" defTabSz="9322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500" b="1" kern="1200" baseline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+mn-lt"/>
                  <a:ea typeface="Segoe UI" pitchFamily="34" charset="0"/>
                  <a:cs typeface="Segoe UI" pitchFamily="34" charset="0"/>
                </a:rPr>
                <a:t>Dark Red</a:t>
              </a:r>
            </a:p>
            <a:p>
              <a:pPr algn="l" defTabSz="932293"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500" dirty="0">
                  <a:gradFill>
                    <a:gsLst>
                      <a:gs pos="2092">
                        <a:srgbClr val="F8F8F8"/>
                      </a:gs>
                      <a:gs pos="10042">
                        <a:srgbClr val="F8F8F8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rPr>
                <a:t>R:</a:t>
              </a:r>
              <a:r>
                <a:rPr lang="en-US" sz="500" baseline="0" dirty="0">
                  <a:gradFill>
                    <a:gsLst>
                      <a:gs pos="2092">
                        <a:srgbClr val="F8F8F8"/>
                      </a:gs>
                      <a:gs pos="10042">
                        <a:srgbClr val="F8F8F8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rPr>
                <a:t>168 G:0 B:0</a:t>
              </a:r>
              <a:endParaRPr lang="en-US" sz="500" dirty="0">
                <a:gradFill>
                  <a:gsLst>
                    <a:gs pos="2092">
                      <a:srgbClr val="F8F8F8"/>
                    </a:gs>
                    <a:gs pos="10042">
                      <a:srgbClr val="F8F8F8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32" name="Rectangle 31"/>
            <p:cNvSpPr/>
            <p:nvPr userDrawn="1"/>
          </p:nvSpPr>
          <p:spPr bwMode="auto">
            <a:xfrm rot="5400000">
              <a:off x="12328888" y="3353997"/>
              <a:ext cx="869930" cy="289766"/>
            </a:xfrm>
            <a:prstGeom prst="rect">
              <a:avLst/>
            </a:prstGeom>
            <a:solidFill>
              <a:srgbClr val="002050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algn="l" defTabSz="9322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500" b="1" kern="1200" baseline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+mn-lt"/>
                  <a:ea typeface="Segoe UI" pitchFamily="34" charset="0"/>
                  <a:cs typeface="Segoe UI" pitchFamily="34" charset="0"/>
                </a:rPr>
                <a:t>Dark Blue</a:t>
              </a:r>
            </a:p>
            <a:p>
              <a:pPr algn="l" defTabSz="932293"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500" dirty="0">
                  <a:gradFill>
                    <a:gsLst>
                      <a:gs pos="2092">
                        <a:srgbClr val="F8F8F8"/>
                      </a:gs>
                      <a:gs pos="10042">
                        <a:srgbClr val="F8F8F8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rPr>
                <a:t>R0 G32 B80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900925277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4549" r:id="rId1"/>
    <p:sldLayoutId id="2147484550" r:id="rId2"/>
    <p:sldLayoutId id="2147484551" r:id="rId3"/>
    <p:sldLayoutId id="2147484552" r:id="rId4"/>
    <p:sldLayoutId id="2147484553" r:id="rId5"/>
    <p:sldLayoutId id="2147484554" r:id="rId6"/>
    <p:sldLayoutId id="2147484555" r:id="rId7"/>
    <p:sldLayoutId id="2147484556" r:id="rId8"/>
    <p:sldLayoutId id="2147484557" r:id="rId9"/>
    <p:sldLayoutId id="2147484558" r:id="rId10"/>
    <p:sldLayoutId id="2147484559" r:id="rId11"/>
    <p:sldLayoutId id="2147484560" r:id="rId12"/>
    <p:sldLayoutId id="2147484561" r:id="rId13"/>
    <p:sldLayoutId id="2147484562" r:id="rId14"/>
    <p:sldLayoutId id="2147484563" r:id="rId15"/>
    <p:sldLayoutId id="2147484564" r:id="rId16"/>
    <p:sldLayoutId id="2147484565" r:id="rId17"/>
    <p:sldLayoutId id="2147484566" r:id="rId18"/>
    <p:sldLayoutId id="2147484567" r:id="rId19"/>
  </p:sldLayoutIdLst>
  <p:transition>
    <p:fade/>
  </p:transition>
  <p:txStyles>
    <p:titleStyle>
      <a:lvl1pPr algn="l" defTabSz="932563" rtl="0" eaLnBrk="1" latinLnBrk="0" hangingPunct="1">
        <a:lnSpc>
          <a:spcPct val="90000"/>
        </a:lnSpc>
        <a:spcBef>
          <a:spcPct val="0"/>
        </a:spcBef>
        <a:buNone/>
        <a:defRPr lang="en-US" sz="4799" b="0" kern="1200" cap="none" spc="-102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42834" marR="0" indent="-342834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lang="en-US" sz="3999" kern="1200" spc="0" baseline="0" dirty="0" smtClean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84088" marR="0" indent="-241253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lang="en-US" sz="2400" kern="1200" spc="0" baseline="0" dirty="0" smtClean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Segoe UI" panose="020B0502040204020203" pitchFamily="34" charset="0"/>
        </a:defRPr>
      </a:lvl2pPr>
      <a:lvl3pPr marL="799946" marR="0" indent="-228557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Segoe UI" panose="020B0502040204020203" pitchFamily="34" charset="0"/>
        </a:defRPr>
      </a:lvl3pPr>
      <a:lvl4pPr marL="1028503" marR="0" indent="-228557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Segoe UI" panose="020B0502040204020203" pitchFamily="34" charset="0"/>
        </a:defRPr>
      </a:lvl4pPr>
      <a:lvl5pPr marL="1257058" marR="0" indent="-228557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Segoe UI" panose="020B0502040204020203" pitchFamily="34" charset="0"/>
        </a:defRPr>
      </a:lvl5pPr>
      <a:lvl6pPr marL="2564548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0830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112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3394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281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563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8844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126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408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7689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3970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253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4639" y="295274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74640" y="1212851"/>
            <a:ext cx="11887198" cy="2092881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marL="342900" marR="0" lvl="0" indent="-3429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</a:pPr>
            <a:r>
              <a:rPr lang="en-US" dirty="0"/>
              <a:t>Click to edit Master text styles</a:t>
            </a:r>
          </a:p>
          <a:p>
            <a:pPr marL="584200" marR="0" lvl="1" indent="-2413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</a:pPr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3" name="Group 2"/>
          <p:cNvGrpSpPr/>
          <p:nvPr userDrawn="1"/>
        </p:nvGrpSpPr>
        <p:grpSpPr>
          <a:xfrm>
            <a:off x="12618967" y="0"/>
            <a:ext cx="952401" cy="5766967"/>
            <a:chOff x="12618967" y="0"/>
            <a:chExt cx="952401" cy="5766967"/>
          </a:xfrm>
        </p:grpSpPr>
        <p:grpSp>
          <p:nvGrpSpPr>
            <p:cNvPr id="19" name="Group 18"/>
            <p:cNvGrpSpPr/>
            <p:nvPr userDrawn="1"/>
          </p:nvGrpSpPr>
          <p:grpSpPr>
            <a:xfrm rot="5400000">
              <a:off x="11584220" y="1040742"/>
              <a:ext cx="2698730" cy="629236"/>
              <a:chOff x="1584344" y="4543426"/>
              <a:chExt cx="2698730" cy="629236"/>
            </a:xfrm>
          </p:grpSpPr>
          <p:sp>
            <p:nvSpPr>
              <p:cNvPr id="25" name="Rectangle 24"/>
              <p:cNvSpPr/>
              <p:nvPr userDrawn="1"/>
            </p:nvSpPr>
            <p:spPr bwMode="auto">
              <a:xfrm>
                <a:off x="1586734" y="4543428"/>
                <a:ext cx="869930" cy="289766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 defTabSz="932472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b="1" kern="1200" baseline="0" dirty="0" err="1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Oragen</a:t>
                </a:r>
                <a:endParaRPr lang="en-US" sz="500" b="1" kern="1200" baseline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+mn-lt"/>
                  <a:ea typeface="Segoe UI" pitchFamily="34" charset="0"/>
                  <a:cs typeface="Segoe UI" pitchFamily="34" charset="0"/>
                </a:endParaRPr>
              </a:p>
              <a:p>
                <a:pPr algn="l" defTabSz="932472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R:</a:t>
                </a:r>
                <a:r>
                  <a:rPr lang="en-US" sz="500" baseline="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216 G:59 B:1</a:t>
                </a:r>
                <a:endParaRPr lang="en-US" sz="50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26" name="Rectangle 25"/>
              <p:cNvSpPr/>
              <p:nvPr userDrawn="1"/>
            </p:nvSpPr>
            <p:spPr bwMode="auto">
              <a:xfrm>
                <a:off x="2505456" y="4543427"/>
                <a:ext cx="869930" cy="289766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 defTabSz="932472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b="1" kern="1200" baseline="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Blue</a:t>
                </a:r>
              </a:p>
              <a:p>
                <a:pPr marL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kern="1200" dirty="0">
                    <a:gradFill>
                      <a:gsLst>
                        <a:gs pos="2092">
                          <a:srgbClr val="F8F8F8"/>
                        </a:gs>
                        <a:gs pos="10042">
                          <a:srgbClr val="F8F8F8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R:0 G:120 B:215</a:t>
                </a:r>
              </a:p>
            </p:txBody>
          </p:sp>
          <p:sp>
            <p:nvSpPr>
              <p:cNvPr id="27" name="Rectangle 26"/>
              <p:cNvSpPr/>
              <p:nvPr userDrawn="1"/>
            </p:nvSpPr>
            <p:spPr bwMode="auto">
              <a:xfrm>
                <a:off x="3413144" y="4543426"/>
                <a:ext cx="869930" cy="289766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b="1" kern="1200" baseline="0" dirty="0">
                    <a:gradFill>
                      <a:gsLst>
                        <a:gs pos="37168">
                          <a:srgbClr val="292929"/>
                        </a:gs>
                        <a:gs pos="72000">
                          <a:srgbClr val="292929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Light Gray</a:t>
                </a:r>
              </a:p>
              <a:p>
                <a:pPr marL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b="0" kern="1200" baseline="0" dirty="0">
                    <a:gradFill>
                      <a:gsLst>
                        <a:gs pos="37168">
                          <a:srgbClr val="292929"/>
                        </a:gs>
                        <a:gs pos="72000">
                          <a:srgbClr val="292929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R:210 G:210 B:210</a:t>
                </a:r>
              </a:p>
            </p:txBody>
          </p:sp>
          <p:sp>
            <p:nvSpPr>
              <p:cNvPr id="28" name="Rectangle 27"/>
              <p:cNvSpPr/>
              <p:nvPr userDrawn="1"/>
            </p:nvSpPr>
            <p:spPr bwMode="auto">
              <a:xfrm>
                <a:off x="2498744" y="4882896"/>
                <a:ext cx="869930" cy="289766"/>
              </a:xfrm>
              <a:prstGeom prst="rect">
                <a:avLst/>
              </a:prstGeom>
              <a:solidFill>
                <a:schemeClr val="accent5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b="1" kern="1200" baseline="0" dirty="0">
                    <a:gradFill>
                      <a:gsLst>
                        <a:gs pos="37168">
                          <a:srgbClr val="292929"/>
                        </a:gs>
                        <a:gs pos="72000">
                          <a:srgbClr val="292929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Light Orange</a:t>
                </a:r>
              </a:p>
              <a:p>
                <a:pPr marL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kern="1200" dirty="0">
                    <a:gradFill>
                      <a:gsLst>
                        <a:gs pos="37168">
                          <a:srgbClr val="292929"/>
                        </a:gs>
                        <a:gs pos="72000">
                          <a:srgbClr val="292929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R:255 G:140 B:0</a:t>
                </a:r>
              </a:p>
            </p:txBody>
          </p:sp>
          <p:sp>
            <p:nvSpPr>
              <p:cNvPr id="29" name="Rectangle 28"/>
              <p:cNvSpPr/>
              <p:nvPr userDrawn="1"/>
            </p:nvSpPr>
            <p:spPr bwMode="auto">
              <a:xfrm>
                <a:off x="3413144" y="4882895"/>
                <a:ext cx="869930" cy="289766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b="1" kern="1200" baseline="0" dirty="0">
                    <a:gradFill>
                      <a:gsLst>
                        <a:gs pos="37168">
                          <a:srgbClr val="292929"/>
                        </a:gs>
                        <a:gs pos="72000">
                          <a:srgbClr val="292929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Light Blue</a:t>
                </a:r>
              </a:p>
              <a:p>
                <a:pPr marL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b="0" kern="1200" baseline="0" dirty="0">
                    <a:gradFill>
                      <a:gsLst>
                        <a:gs pos="37168">
                          <a:srgbClr val="292929"/>
                        </a:gs>
                        <a:gs pos="72000">
                          <a:srgbClr val="292929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R:16 G:124 B:16</a:t>
                </a:r>
              </a:p>
            </p:txBody>
          </p:sp>
          <p:sp>
            <p:nvSpPr>
              <p:cNvPr id="30" name="Rectangle 29"/>
              <p:cNvSpPr/>
              <p:nvPr userDrawn="1"/>
            </p:nvSpPr>
            <p:spPr bwMode="auto">
              <a:xfrm>
                <a:off x="1584344" y="4882896"/>
                <a:ext cx="869930" cy="289766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b="1" kern="1200" baseline="0" dirty="0">
                    <a:gradFill>
                      <a:gsLst>
                        <a:gs pos="37168">
                          <a:srgbClr val="292929"/>
                        </a:gs>
                        <a:gs pos="72000">
                          <a:srgbClr val="292929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Yellow</a:t>
                </a:r>
              </a:p>
              <a:p>
                <a:pPr marL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b="0" kern="1200" baseline="0" dirty="0">
                    <a:gradFill>
                      <a:gsLst>
                        <a:gs pos="37168">
                          <a:srgbClr val="292929"/>
                        </a:gs>
                        <a:gs pos="72000">
                          <a:srgbClr val="292929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R:255 G:185 B:0</a:t>
                </a:r>
              </a:p>
            </p:txBody>
          </p:sp>
        </p:grpSp>
        <p:sp>
          <p:nvSpPr>
            <p:cNvPr id="20" name="TextBox 19"/>
            <p:cNvSpPr txBox="1"/>
            <p:nvPr userDrawn="1"/>
          </p:nvSpPr>
          <p:spPr>
            <a:xfrm rot="5400000">
              <a:off x="12988035" y="260168"/>
              <a:ext cx="843501" cy="323165"/>
            </a:xfrm>
            <a:prstGeom prst="rect">
              <a:avLst/>
            </a:prstGeom>
            <a:noFill/>
          </p:spPr>
          <p:txBody>
            <a:bodyPr wrap="none" lIns="0" tIns="91440" rIns="182880" bIns="91440" rtlCol="0">
              <a:spAutoFit/>
            </a:bodyPr>
            <a:lstStyle/>
            <a:p>
              <a:pPr marL="0" algn="l" defTabSz="932742" rtl="0" eaLnBrk="1" latinLnBrk="0" hangingPunct="1">
                <a:lnSpc>
                  <a:spcPct val="90000"/>
                </a:lnSpc>
                <a:spcAft>
                  <a:spcPts val="600"/>
                </a:spcAft>
              </a:pPr>
              <a:r>
                <a:rPr lang="en-US" sz="1000" kern="1200" dirty="0">
                  <a:gradFill>
                    <a:gsLst>
                      <a:gs pos="82301">
                        <a:srgbClr val="292929"/>
                      </a:gs>
                      <a:gs pos="62000">
                        <a:srgbClr val="292929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rPr>
                <a:t>Main colors</a:t>
              </a:r>
            </a:p>
          </p:txBody>
        </p:sp>
        <p:sp>
          <p:nvSpPr>
            <p:cNvPr id="21" name="TextBox 20"/>
            <p:cNvSpPr txBox="1"/>
            <p:nvPr userDrawn="1"/>
          </p:nvSpPr>
          <p:spPr>
            <a:xfrm rot="5400000">
              <a:off x="11742070" y="4230580"/>
              <a:ext cx="2656496" cy="323165"/>
            </a:xfrm>
            <a:prstGeom prst="rect">
              <a:avLst/>
            </a:prstGeom>
            <a:noFill/>
          </p:spPr>
          <p:txBody>
            <a:bodyPr wrap="none" lIns="0" tIns="91440" rIns="182880" bIns="91440" rtlCol="0">
              <a:spAutoFit/>
            </a:bodyPr>
            <a:lstStyle/>
            <a:p>
              <a:pPr marL="0" algn="l" defTabSz="932742" rtl="0" eaLnBrk="1" latinLnBrk="0" hangingPunct="1">
                <a:lnSpc>
                  <a:spcPct val="90000"/>
                </a:lnSpc>
                <a:spcAft>
                  <a:spcPts val="600"/>
                </a:spcAft>
              </a:pPr>
              <a:r>
                <a:rPr lang="en-US" sz="1000" kern="1200" dirty="0">
                  <a:gradFill>
                    <a:gsLst>
                      <a:gs pos="82301">
                        <a:srgbClr val="292929"/>
                      </a:gs>
                      <a:gs pos="62000">
                        <a:srgbClr val="292929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rPr>
                <a:t>Secondary colors (use only when necessary)</a:t>
              </a:r>
            </a:p>
          </p:txBody>
        </p:sp>
        <p:sp>
          <p:nvSpPr>
            <p:cNvPr id="22" name="Rectangle 21"/>
            <p:cNvSpPr/>
            <p:nvPr userDrawn="1"/>
          </p:nvSpPr>
          <p:spPr bwMode="auto">
            <a:xfrm rot="5400000">
              <a:off x="12328888" y="5187119"/>
              <a:ext cx="869930" cy="289766"/>
            </a:xfrm>
            <a:prstGeom prst="rect">
              <a:avLst/>
            </a:prstGeom>
            <a:solidFill>
              <a:srgbClr val="BAD80A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500" b="1" kern="1200" baseline="0" dirty="0">
                  <a:gradFill>
                    <a:gsLst>
                      <a:gs pos="37168">
                        <a:srgbClr val="292929"/>
                      </a:gs>
                      <a:gs pos="72000">
                        <a:srgbClr val="292929"/>
                      </a:gs>
                    </a:gsLst>
                    <a:lin ang="5400000" scaled="0"/>
                  </a:gradFill>
                  <a:latin typeface="+mn-lt"/>
                  <a:ea typeface="Segoe UI" pitchFamily="34" charset="0"/>
                  <a:cs typeface="Segoe UI" pitchFamily="34" charset="0"/>
                </a:rPr>
                <a:t>Light Green </a:t>
              </a:r>
            </a:p>
            <a:p>
              <a:pPr marL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500" b="0" kern="1200" baseline="0" dirty="0">
                  <a:gradFill>
                    <a:gsLst>
                      <a:gs pos="37168">
                        <a:srgbClr val="292929"/>
                      </a:gs>
                      <a:gs pos="72000">
                        <a:srgbClr val="292929"/>
                      </a:gs>
                    </a:gsLst>
                    <a:lin ang="5400000" scaled="0"/>
                  </a:gradFill>
                  <a:latin typeface="+mn-lt"/>
                  <a:ea typeface="Segoe UI" pitchFamily="34" charset="0"/>
                  <a:cs typeface="Segoe UI" pitchFamily="34" charset="0"/>
                </a:rPr>
                <a:t>R:168 G:216 B:10</a:t>
              </a:r>
            </a:p>
          </p:txBody>
        </p:sp>
        <p:sp>
          <p:nvSpPr>
            <p:cNvPr id="31" name="Rectangle 30"/>
            <p:cNvSpPr/>
            <p:nvPr userDrawn="1"/>
          </p:nvSpPr>
          <p:spPr bwMode="auto">
            <a:xfrm rot="5400000">
              <a:off x="12328888" y="4270558"/>
              <a:ext cx="869930" cy="289766"/>
            </a:xfrm>
            <a:prstGeom prst="rect">
              <a:avLst/>
            </a:prstGeom>
            <a:solidFill>
              <a:srgbClr val="A80000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500" b="1" kern="1200" baseline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+mn-lt"/>
                  <a:ea typeface="Segoe UI" pitchFamily="34" charset="0"/>
                  <a:cs typeface="Segoe UI" pitchFamily="34" charset="0"/>
                </a:rPr>
                <a:t>Dark Red</a:t>
              </a:r>
            </a:p>
            <a:p>
              <a:pPr algn="l" defTabSz="932472"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500" dirty="0">
                  <a:gradFill>
                    <a:gsLst>
                      <a:gs pos="2092">
                        <a:srgbClr val="F8F8F8"/>
                      </a:gs>
                      <a:gs pos="10042">
                        <a:srgbClr val="F8F8F8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rPr>
                <a:t>R:</a:t>
              </a:r>
              <a:r>
                <a:rPr lang="en-US" sz="500" baseline="0" dirty="0">
                  <a:gradFill>
                    <a:gsLst>
                      <a:gs pos="2092">
                        <a:srgbClr val="F8F8F8"/>
                      </a:gs>
                      <a:gs pos="10042">
                        <a:srgbClr val="F8F8F8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rPr>
                <a:t>168 G:0 B:0</a:t>
              </a:r>
              <a:endParaRPr lang="en-US" sz="500" dirty="0">
                <a:gradFill>
                  <a:gsLst>
                    <a:gs pos="2092">
                      <a:srgbClr val="F8F8F8"/>
                    </a:gs>
                    <a:gs pos="10042">
                      <a:srgbClr val="F8F8F8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32" name="Rectangle 31"/>
            <p:cNvSpPr/>
            <p:nvPr userDrawn="1"/>
          </p:nvSpPr>
          <p:spPr bwMode="auto">
            <a:xfrm rot="5400000">
              <a:off x="12328888" y="3353997"/>
              <a:ext cx="869930" cy="289766"/>
            </a:xfrm>
            <a:prstGeom prst="rect">
              <a:avLst/>
            </a:prstGeom>
            <a:solidFill>
              <a:srgbClr val="002050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500" b="1" kern="1200" baseline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+mn-lt"/>
                  <a:ea typeface="Segoe UI" pitchFamily="34" charset="0"/>
                  <a:cs typeface="Segoe UI" pitchFamily="34" charset="0"/>
                </a:rPr>
                <a:t>Dark Blue</a:t>
              </a:r>
            </a:p>
            <a:p>
              <a:pPr algn="l" defTabSz="932472"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500" dirty="0">
                  <a:gradFill>
                    <a:gsLst>
                      <a:gs pos="2092">
                        <a:srgbClr val="F8F8F8"/>
                      </a:gs>
                      <a:gs pos="10042">
                        <a:srgbClr val="F8F8F8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rPr>
                <a:t>R0 G32 B80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249032989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4339" r:id="rId1"/>
    <p:sldLayoutId id="2147484340" r:id="rId2"/>
    <p:sldLayoutId id="2147484311" r:id="rId3"/>
    <p:sldLayoutId id="2147484312" r:id="rId4"/>
    <p:sldLayoutId id="2147484313" r:id="rId5"/>
    <p:sldLayoutId id="2147484314" r:id="rId6"/>
    <p:sldLayoutId id="2147484315" r:id="rId7"/>
    <p:sldLayoutId id="2147484332" r:id="rId8"/>
    <p:sldLayoutId id="2147484333" r:id="rId9"/>
    <p:sldLayoutId id="2147484334" r:id="rId10"/>
    <p:sldLayoutId id="2147484335" r:id="rId11"/>
    <p:sldLayoutId id="2147484336" r:id="rId12"/>
    <p:sldLayoutId id="2147484323" r:id="rId13"/>
    <p:sldLayoutId id="2147484324" r:id="rId14"/>
    <p:sldLayoutId id="2147484325" r:id="rId15"/>
    <p:sldLayoutId id="2147484326" r:id="rId16"/>
    <p:sldLayoutId id="2147484327" r:id="rId17"/>
    <p:sldLayoutId id="2147484328" r:id="rId18"/>
    <p:sldLayoutId id="2147484393" r:id="rId19"/>
  </p:sldLayoutIdLst>
  <p:transition>
    <p:fade/>
  </p:transition>
  <p:txStyles>
    <p:titleStyle>
      <a:lvl1pPr algn="l" defTabSz="932742" rtl="0" eaLnBrk="1" latinLnBrk="0" hangingPunct="1">
        <a:lnSpc>
          <a:spcPct val="90000"/>
        </a:lnSpc>
        <a:spcBef>
          <a:spcPct val="0"/>
        </a:spcBef>
        <a:buNone/>
        <a:defRPr lang="en-US" sz="4800" b="0" kern="1200" cap="none" spc="-102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42900" marR="0" indent="-3429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lang="en-US" sz="4000" kern="1200" spc="0" baseline="0" dirty="0" smtClean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84200" marR="0" indent="-2413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lang="en-US" sz="2400" kern="1200" spc="0" baseline="0" dirty="0" smtClean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Segoe UI" panose="020B0502040204020203" pitchFamily="34" charset="0"/>
        </a:defRPr>
      </a:lvl2pPr>
      <a:lvl3pPr marL="8001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Segoe UI" panose="020B0502040204020203" pitchFamily="34" charset="0"/>
        </a:defRPr>
      </a:lvl3pPr>
      <a:lvl4pPr marL="10287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Segoe UI" panose="020B0502040204020203" pitchFamily="34" charset="0"/>
        </a:defRPr>
      </a:lvl4pPr>
      <a:lvl5pPr marL="12573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Segoe UI" panose="020B0502040204020203" pitchFamily="34" charset="0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 userDrawn="1">
          <p15:clr>
            <a:srgbClr val="C35EA4"/>
          </p15:clr>
        </p15:guide>
        <p15:guide id="17" pos="7546" userDrawn="1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 userDrawn="1">
          <p15:clr>
            <a:srgbClr val="C35EA4"/>
          </p15:clr>
        </p15:guide>
        <p15:guide id="26" orient="horz" pos="4104" userDrawn="1">
          <p15:clr>
            <a:srgbClr val="C35EA4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4639" y="295274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74640" y="1212851"/>
            <a:ext cx="11887198" cy="2092881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3" name="Group 2"/>
          <p:cNvGrpSpPr/>
          <p:nvPr userDrawn="1"/>
        </p:nvGrpSpPr>
        <p:grpSpPr>
          <a:xfrm>
            <a:off x="12618967" y="0"/>
            <a:ext cx="952401" cy="5766967"/>
            <a:chOff x="12618967" y="0"/>
            <a:chExt cx="952401" cy="5766967"/>
          </a:xfrm>
        </p:grpSpPr>
        <p:grpSp>
          <p:nvGrpSpPr>
            <p:cNvPr id="26" name="Group 25"/>
            <p:cNvGrpSpPr/>
            <p:nvPr userDrawn="1"/>
          </p:nvGrpSpPr>
          <p:grpSpPr>
            <a:xfrm rot="5400000">
              <a:off x="11584220" y="1040742"/>
              <a:ext cx="2698730" cy="629236"/>
              <a:chOff x="1584344" y="4543426"/>
              <a:chExt cx="2698730" cy="629236"/>
            </a:xfrm>
          </p:grpSpPr>
          <p:sp>
            <p:nvSpPr>
              <p:cNvPr id="37" name="Rectangle 36"/>
              <p:cNvSpPr/>
              <p:nvPr userDrawn="1"/>
            </p:nvSpPr>
            <p:spPr bwMode="auto">
              <a:xfrm>
                <a:off x="1586734" y="4543428"/>
                <a:ext cx="869930" cy="289766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 defTabSz="932472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b="1" kern="1200" baseline="0" dirty="0" err="1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Oragen</a:t>
                </a:r>
                <a:endParaRPr lang="en-US" sz="500" b="1" kern="1200" baseline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+mn-lt"/>
                  <a:ea typeface="Segoe UI" pitchFamily="34" charset="0"/>
                  <a:cs typeface="Segoe UI" pitchFamily="34" charset="0"/>
                </a:endParaRPr>
              </a:p>
              <a:p>
                <a:pPr algn="l" defTabSz="932472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R:</a:t>
                </a:r>
                <a:r>
                  <a:rPr lang="en-US" sz="500" baseline="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216 G:59 B:1</a:t>
                </a:r>
                <a:endParaRPr lang="en-US" sz="50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41" name="Rectangle 40"/>
              <p:cNvSpPr/>
              <p:nvPr userDrawn="1"/>
            </p:nvSpPr>
            <p:spPr bwMode="auto">
              <a:xfrm>
                <a:off x="2505456" y="4543427"/>
                <a:ext cx="869930" cy="289766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 defTabSz="932472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b="1" kern="1200" baseline="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Blue</a:t>
                </a:r>
              </a:p>
              <a:p>
                <a:pPr marL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kern="1200" dirty="0">
                    <a:gradFill>
                      <a:gsLst>
                        <a:gs pos="2092">
                          <a:srgbClr val="F8F8F8"/>
                        </a:gs>
                        <a:gs pos="10042">
                          <a:srgbClr val="F8F8F8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R:0 G:120 B:215</a:t>
                </a:r>
              </a:p>
            </p:txBody>
          </p:sp>
          <p:sp>
            <p:nvSpPr>
              <p:cNvPr id="42" name="Rectangle 41"/>
              <p:cNvSpPr/>
              <p:nvPr userDrawn="1"/>
            </p:nvSpPr>
            <p:spPr bwMode="auto">
              <a:xfrm>
                <a:off x="3413144" y="4543426"/>
                <a:ext cx="869930" cy="289766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b="1" kern="1200" baseline="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Dark Gray</a:t>
                </a:r>
              </a:p>
              <a:p>
                <a:pPr marL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kern="1200" dirty="0">
                    <a:gradFill>
                      <a:gsLst>
                        <a:gs pos="2092">
                          <a:srgbClr val="F8F8F8"/>
                        </a:gs>
                        <a:gs pos="10042">
                          <a:srgbClr val="F8F8F8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R:80 G:80 B:80</a:t>
                </a:r>
              </a:p>
            </p:txBody>
          </p:sp>
          <p:sp>
            <p:nvSpPr>
              <p:cNvPr id="43" name="Rectangle 42"/>
              <p:cNvSpPr/>
              <p:nvPr userDrawn="1"/>
            </p:nvSpPr>
            <p:spPr bwMode="auto">
              <a:xfrm>
                <a:off x="2498744" y="4882896"/>
                <a:ext cx="869930" cy="289766"/>
              </a:xfrm>
              <a:prstGeom prst="rect">
                <a:avLst/>
              </a:prstGeom>
              <a:solidFill>
                <a:schemeClr val="accent5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b="1" kern="1200" baseline="0" dirty="0">
                    <a:gradFill>
                      <a:gsLst>
                        <a:gs pos="37168">
                          <a:srgbClr val="292929"/>
                        </a:gs>
                        <a:gs pos="72000">
                          <a:srgbClr val="292929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Yellow</a:t>
                </a:r>
              </a:p>
              <a:p>
                <a:pPr marL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kern="1200" dirty="0">
                    <a:gradFill>
                      <a:gsLst>
                        <a:gs pos="37168">
                          <a:srgbClr val="292929"/>
                        </a:gs>
                        <a:gs pos="72000">
                          <a:srgbClr val="292929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R:255 G:185 B:0</a:t>
                </a:r>
              </a:p>
            </p:txBody>
          </p:sp>
          <p:sp>
            <p:nvSpPr>
              <p:cNvPr id="44" name="Rectangle 43"/>
              <p:cNvSpPr/>
              <p:nvPr userDrawn="1"/>
            </p:nvSpPr>
            <p:spPr bwMode="auto">
              <a:xfrm>
                <a:off x="3413144" y="4882895"/>
                <a:ext cx="869930" cy="289766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b="1" kern="1200" baseline="0" dirty="0">
                    <a:gradFill>
                      <a:gsLst>
                        <a:gs pos="37168">
                          <a:srgbClr val="292929"/>
                        </a:gs>
                        <a:gs pos="72000">
                          <a:srgbClr val="292929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Light Orange</a:t>
                </a:r>
              </a:p>
              <a:p>
                <a:pPr marL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kern="1200" dirty="0">
                    <a:gradFill>
                      <a:gsLst>
                        <a:gs pos="37168">
                          <a:srgbClr val="292929"/>
                        </a:gs>
                        <a:gs pos="72000">
                          <a:srgbClr val="292929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R:255 G:140 B:0</a:t>
                </a:r>
              </a:p>
            </p:txBody>
          </p:sp>
          <p:sp>
            <p:nvSpPr>
              <p:cNvPr id="45" name="Rectangle 44"/>
              <p:cNvSpPr/>
              <p:nvPr userDrawn="1"/>
            </p:nvSpPr>
            <p:spPr bwMode="auto">
              <a:xfrm>
                <a:off x="1584344" y="4882896"/>
                <a:ext cx="869930" cy="289766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b="1" kern="1200" baseline="0" dirty="0">
                    <a:gradFill>
                      <a:gsLst>
                        <a:gs pos="37168">
                          <a:srgbClr val="292929"/>
                        </a:gs>
                        <a:gs pos="72000">
                          <a:srgbClr val="292929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Light Gray</a:t>
                </a:r>
              </a:p>
              <a:p>
                <a:pPr algn="l" defTabSz="932472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dirty="0">
                    <a:gradFill>
                      <a:gsLst>
                        <a:gs pos="37168">
                          <a:srgbClr val="292929"/>
                        </a:gs>
                        <a:gs pos="72000">
                          <a:srgbClr val="292929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R:</a:t>
                </a:r>
                <a:r>
                  <a:rPr lang="en-US" sz="500" baseline="0" dirty="0">
                    <a:gradFill>
                      <a:gsLst>
                        <a:gs pos="37168">
                          <a:srgbClr val="292929"/>
                        </a:gs>
                        <a:gs pos="72000">
                          <a:srgbClr val="292929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210 G:210 B:210</a:t>
                </a:r>
                <a:endParaRPr lang="en-US" sz="500" dirty="0">
                  <a:gradFill>
                    <a:gsLst>
                      <a:gs pos="37168">
                        <a:srgbClr val="292929"/>
                      </a:gs>
                      <a:gs pos="72000">
                        <a:srgbClr val="292929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</p:grpSp>
        <p:sp>
          <p:nvSpPr>
            <p:cNvPr id="28" name="TextBox 27"/>
            <p:cNvSpPr txBox="1"/>
            <p:nvPr userDrawn="1"/>
          </p:nvSpPr>
          <p:spPr>
            <a:xfrm rot="5400000">
              <a:off x="12988035" y="260168"/>
              <a:ext cx="843501" cy="323165"/>
            </a:xfrm>
            <a:prstGeom prst="rect">
              <a:avLst/>
            </a:prstGeom>
            <a:noFill/>
          </p:spPr>
          <p:txBody>
            <a:bodyPr wrap="none" lIns="0" tIns="91440" rIns="182880" bIns="91440" rtlCol="0">
              <a:spAutoFit/>
            </a:bodyPr>
            <a:lstStyle/>
            <a:p>
              <a:pPr marL="0" algn="l" defTabSz="932742" rtl="0" eaLnBrk="1" latinLnBrk="0" hangingPunct="1">
                <a:lnSpc>
                  <a:spcPct val="90000"/>
                </a:lnSpc>
                <a:spcAft>
                  <a:spcPts val="600"/>
                </a:spcAft>
              </a:pPr>
              <a:r>
                <a:rPr lang="en-US" sz="1000" kern="1200" dirty="0">
                  <a:gradFill>
                    <a:gsLst>
                      <a:gs pos="82301">
                        <a:srgbClr val="292929"/>
                      </a:gs>
                      <a:gs pos="62000">
                        <a:srgbClr val="292929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rPr>
                <a:t>Main colors</a:t>
              </a:r>
            </a:p>
          </p:txBody>
        </p:sp>
        <p:sp>
          <p:nvSpPr>
            <p:cNvPr id="32" name="TextBox 31"/>
            <p:cNvSpPr txBox="1"/>
            <p:nvPr userDrawn="1"/>
          </p:nvSpPr>
          <p:spPr>
            <a:xfrm rot="5400000">
              <a:off x="11742070" y="4230580"/>
              <a:ext cx="2656496" cy="323165"/>
            </a:xfrm>
            <a:prstGeom prst="rect">
              <a:avLst/>
            </a:prstGeom>
            <a:noFill/>
          </p:spPr>
          <p:txBody>
            <a:bodyPr wrap="none" lIns="0" tIns="91440" rIns="182880" bIns="91440" rtlCol="0">
              <a:spAutoFit/>
            </a:bodyPr>
            <a:lstStyle/>
            <a:p>
              <a:pPr marL="0" algn="l" defTabSz="932742" rtl="0" eaLnBrk="1" latinLnBrk="0" hangingPunct="1">
                <a:lnSpc>
                  <a:spcPct val="90000"/>
                </a:lnSpc>
                <a:spcAft>
                  <a:spcPts val="600"/>
                </a:spcAft>
              </a:pPr>
              <a:r>
                <a:rPr lang="en-US" sz="1000" kern="1200" dirty="0">
                  <a:gradFill>
                    <a:gsLst>
                      <a:gs pos="82301">
                        <a:srgbClr val="292929"/>
                      </a:gs>
                      <a:gs pos="62000">
                        <a:srgbClr val="292929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rPr>
                <a:t>Secondary colors (use only when necessary)</a:t>
              </a:r>
            </a:p>
          </p:txBody>
        </p:sp>
        <p:sp>
          <p:nvSpPr>
            <p:cNvPr id="22" name="Rectangle 21"/>
            <p:cNvSpPr/>
            <p:nvPr userDrawn="1"/>
          </p:nvSpPr>
          <p:spPr bwMode="auto">
            <a:xfrm rot="5400000">
              <a:off x="12328888" y="5187119"/>
              <a:ext cx="869930" cy="289766"/>
            </a:xfrm>
            <a:prstGeom prst="rect">
              <a:avLst/>
            </a:prstGeom>
            <a:solidFill>
              <a:srgbClr val="A80000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500" b="1" kern="1200" baseline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+mn-lt"/>
                  <a:ea typeface="Segoe UI" pitchFamily="34" charset="0"/>
                  <a:cs typeface="Segoe UI" pitchFamily="34" charset="0"/>
                </a:rPr>
                <a:t>Dark Red</a:t>
              </a:r>
            </a:p>
            <a:p>
              <a:pPr algn="l" defTabSz="932472"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500" dirty="0">
                  <a:gradFill>
                    <a:gsLst>
                      <a:gs pos="2092">
                        <a:srgbClr val="F8F8F8"/>
                      </a:gs>
                      <a:gs pos="10042">
                        <a:srgbClr val="F8F8F8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rPr>
                <a:t>R:</a:t>
              </a:r>
              <a:r>
                <a:rPr lang="en-US" sz="500" baseline="0" dirty="0">
                  <a:gradFill>
                    <a:gsLst>
                      <a:gs pos="2092">
                        <a:srgbClr val="F8F8F8"/>
                      </a:gs>
                      <a:gs pos="10042">
                        <a:srgbClr val="F8F8F8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rPr>
                <a:t>168 G:0 B:0</a:t>
              </a:r>
              <a:endParaRPr lang="en-US" sz="500" dirty="0">
                <a:gradFill>
                  <a:gsLst>
                    <a:gs pos="2092">
                      <a:srgbClr val="F8F8F8"/>
                    </a:gs>
                    <a:gs pos="10042">
                      <a:srgbClr val="F8F8F8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3" name="Rectangle 22"/>
            <p:cNvSpPr/>
            <p:nvPr userDrawn="1"/>
          </p:nvSpPr>
          <p:spPr bwMode="auto">
            <a:xfrm rot="5400000">
              <a:off x="12328888" y="3353997"/>
              <a:ext cx="869930" cy="289766"/>
            </a:xfrm>
            <a:prstGeom prst="rect">
              <a:avLst/>
            </a:prstGeom>
            <a:solidFill>
              <a:srgbClr val="00BCF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500" b="1" kern="1200" baseline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+mn-lt"/>
                  <a:ea typeface="Segoe UI" pitchFamily="34" charset="0"/>
                  <a:cs typeface="Segoe UI" pitchFamily="34" charset="0"/>
                </a:rPr>
                <a:t>Light Blue</a:t>
              </a:r>
            </a:p>
            <a:p>
              <a:pPr algn="l" defTabSz="932472"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500" dirty="0">
                  <a:gradFill>
                    <a:gsLst>
                      <a:gs pos="2092">
                        <a:srgbClr val="F8F8F8"/>
                      </a:gs>
                      <a:gs pos="10042">
                        <a:srgbClr val="F8F8F8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rPr>
                <a:t>R:16</a:t>
              </a:r>
              <a:r>
                <a:rPr lang="en-US" sz="500" baseline="0" dirty="0">
                  <a:gradFill>
                    <a:gsLst>
                      <a:gs pos="2092">
                        <a:srgbClr val="F8F8F8"/>
                      </a:gs>
                      <a:gs pos="10042">
                        <a:srgbClr val="F8F8F8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rPr>
                <a:t> G:124 B:16</a:t>
              </a:r>
              <a:endParaRPr lang="en-US" sz="500" dirty="0">
                <a:gradFill>
                  <a:gsLst>
                    <a:gs pos="2092">
                      <a:srgbClr val="F8F8F8"/>
                    </a:gs>
                    <a:gs pos="10042">
                      <a:srgbClr val="F8F8F8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4" name="Rectangle 23"/>
            <p:cNvSpPr/>
            <p:nvPr userDrawn="1"/>
          </p:nvSpPr>
          <p:spPr bwMode="auto">
            <a:xfrm rot="5400000">
              <a:off x="12328888" y="4272719"/>
              <a:ext cx="869930" cy="289766"/>
            </a:xfrm>
            <a:prstGeom prst="rect">
              <a:avLst/>
            </a:prstGeom>
            <a:solidFill>
              <a:srgbClr val="002050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500" b="1" kern="1200" baseline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+mn-lt"/>
                  <a:ea typeface="Segoe UI" pitchFamily="34" charset="0"/>
                  <a:cs typeface="Segoe UI" pitchFamily="34" charset="0"/>
                </a:rPr>
                <a:t>Dark Blue</a:t>
              </a:r>
            </a:p>
            <a:p>
              <a:pPr algn="l" defTabSz="932472"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500" dirty="0">
                  <a:gradFill>
                    <a:gsLst>
                      <a:gs pos="2092">
                        <a:srgbClr val="F8F8F8"/>
                      </a:gs>
                      <a:gs pos="10042">
                        <a:srgbClr val="F8F8F8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rPr>
                <a:t>R0 G32 B80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6825526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43" r:id="rId1"/>
    <p:sldLayoutId id="2147484344" r:id="rId2"/>
    <p:sldLayoutId id="2147484345" r:id="rId3"/>
    <p:sldLayoutId id="2147484346" r:id="rId4"/>
    <p:sldLayoutId id="2147484347" r:id="rId5"/>
    <p:sldLayoutId id="2147484348" r:id="rId6"/>
    <p:sldLayoutId id="2147484349" r:id="rId7"/>
    <p:sldLayoutId id="2147484350" r:id="rId8"/>
    <p:sldLayoutId id="2147484351" r:id="rId9"/>
    <p:sldLayoutId id="2147484352" r:id="rId10"/>
    <p:sldLayoutId id="2147484353" r:id="rId11"/>
    <p:sldLayoutId id="2147484354" r:id="rId12"/>
    <p:sldLayoutId id="2147484355" r:id="rId13"/>
    <p:sldLayoutId id="2147484356" r:id="rId14"/>
    <p:sldLayoutId id="2147484357" r:id="rId15"/>
    <p:sldLayoutId id="2147484358" r:id="rId16"/>
    <p:sldLayoutId id="2147484359" r:id="rId17"/>
    <p:sldLayoutId id="2147484360" r:id="rId18"/>
    <p:sldLayoutId id="2147484361" r:id="rId19"/>
    <p:sldLayoutId id="2147484362" r:id="rId20"/>
    <p:sldLayoutId id="2147484363" r:id="rId21"/>
  </p:sldLayoutIdLst>
  <p:transition>
    <p:fade/>
  </p:transition>
  <p:txStyles>
    <p:titleStyle>
      <a:lvl1pPr algn="l" defTabSz="932742" rtl="0" eaLnBrk="1" latinLnBrk="0" hangingPunct="1">
        <a:lnSpc>
          <a:spcPct val="90000"/>
        </a:lnSpc>
        <a:spcBef>
          <a:spcPct val="0"/>
        </a:spcBef>
        <a:buNone/>
        <a:defRPr lang="en-US" sz="4800" b="0" kern="1200" cap="none" spc="-102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42900" marR="0" indent="-3429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4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84200" marR="0" indent="-2413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8001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287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573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4639" y="295274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74640" y="1212851"/>
            <a:ext cx="11887198" cy="2092881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3" name="Group 2"/>
          <p:cNvGrpSpPr/>
          <p:nvPr userDrawn="1"/>
        </p:nvGrpSpPr>
        <p:grpSpPr>
          <a:xfrm>
            <a:off x="12618967" y="0"/>
            <a:ext cx="952401" cy="5766967"/>
            <a:chOff x="12618967" y="0"/>
            <a:chExt cx="952401" cy="5766967"/>
          </a:xfrm>
        </p:grpSpPr>
        <p:grpSp>
          <p:nvGrpSpPr>
            <p:cNvPr id="26" name="Group 25"/>
            <p:cNvGrpSpPr/>
            <p:nvPr userDrawn="1"/>
          </p:nvGrpSpPr>
          <p:grpSpPr>
            <a:xfrm rot="5400000">
              <a:off x="11584220" y="1040742"/>
              <a:ext cx="2698730" cy="629236"/>
              <a:chOff x="1584344" y="4543426"/>
              <a:chExt cx="2698730" cy="629236"/>
            </a:xfrm>
          </p:grpSpPr>
          <p:sp>
            <p:nvSpPr>
              <p:cNvPr id="37" name="Rectangle 36"/>
              <p:cNvSpPr/>
              <p:nvPr userDrawn="1"/>
            </p:nvSpPr>
            <p:spPr bwMode="auto">
              <a:xfrm>
                <a:off x="1586734" y="4543428"/>
                <a:ext cx="869930" cy="289766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500" b="1" i="0" u="none" strike="noStrike" kern="1200" cap="none" spc="0" normalizeH="0" baseline="0" noProof="0" dirty="0" err="1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+mn-lt"/>
                    <a:ea typeface="Segoe UI" pitchFamily="34" charset="0"/>
                    <a:cs typeface="Segoe UI" pitchFamily="34" charset="0"/>
                  </a:rPr>
                  <a:t>Oragen</a:t>
                </a:r>
                <a:endParaRPr kumimoji="0" lang="en-US" sz="500" b="1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+mn-lt"/>
                  <a:ea typeface="Segoe UI" pitchFamily="34" charset="0"/>
                  <a:cs typeface="Segoe UI" pitchFamily="34" charset="0"/>
                </a:endParaRPr>
              </a:p>
              <a:p>
                <a:pPr marL="0" marR="0" lvl="0" indent="0" algn="l" defTabSz="932472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500" b="0" i="0" u="none" strike="noStrike" kern="0" cap="none" spc="0" normalizeH="0" baseline="0" noProof="0" dirty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ea typeface="Segoe UI" pitchFamily="34" charset="0"/>
                    <a:cs typeface="Segoe UI" pitchFamily="34" charset="0"/>
                  </a:rPr>
                  <a:t>R:216 G:59 B:1</a:t>
                </a:r>
              </a:p>
            </p:txBody>
          </p:sp>
          <p:sp>
            <p:nvSpPr>
              <p:cNvPr id="41" name="Rectangle 40"/>
              <p:cNvSpPr/>
              <p:nvPr userDrawn="1"/>
            </p:nvSpPr>
            <p:spPr bwMode="auto">
              <a:xfrm>
                <a:off x="2505456" y="4543427"/>
                <a:ext cx="869930" cy="289766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500" b="1" i="0" u="none" strike="noStrike" kern="1200" cap="none" spc="0" normalizeH="0" baseline="0" noProof="0" dirty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+mn-lt"/>
                    <a:ea typeface="Segoe UI" pitchFamily="34" charset="0"/>
                    <a:cs typeface="Segoe UI" pitchFamily="34" charset="0"/>
                  </a:rPr>
                  <a:t>Blue</a:t>
                </a:r>
              </a:p>
              <a:p>
                <a:pPr marL="0" marR="0" lvl="0" indent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500" b="0" i="0" u="none" strike="noStrike" kern="1200" cap="none" spc="0" normalizeH="0" baseline="0" noProof="0" dirty="0">
                    <a:ln>
                      <a:noFill/>
                    </a:ln>
                    <a:gradFill>
                      <a:gsLst>
                        <a:gs pos="2092">
                          <a:srgbClr val="F8F8F8"/>
                        </a:gs>
                        <a:gs pos="10042">
                          <a:srgbClr val="F8F8F8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+mn-lt"/>
                    <a:ea typeface="Segoe UI" pitchFamily="34" charset="0"/>
                    <a:cs typeface="Segoe UI" pitchFamily="34" charset="0"/>
                  </a:rPr>
                  <a:t>R:0 G:120 B:215</a:t>
                </a:r>
              </a:p>
            </p:txBody>
          </p:sp>
          <p:sp>
            <p:nvSpPr>
              <p:cNvPr id="42" name="Rectangle 41"/>
              <p:cNvSpPr/>
              <p:nvPr userDrawn="1"/>
            </p:nvSpPr>
            <p:spPr bwMode="auto">
              <a:xfrm>
                <a:off x="3413144" y="4543426"/>
                <a:ext cx="869930" cy="289766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500" b="1" i="0" u="none" strike="noStrike" kern="1200" cap="none" spc="0" normalizeH="0" baseline="0" noProof="0" dirty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+mn-lt"/>
                    <a:ea typeface="Segoe UI" pitchFamily="34" charset="0"/>
                    <a:cs typeface="Segoe UI" pitchFamily="34" charset="0"/>
                  </a:rPr>
                  <a:t>Dark Gray</a:t>
                </a:r>
              </a:p>
              <a:p>
                <a:pPr marL="0" marR="0" lvl="0" indent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500" b="0" i="0" u="none" strike="noStrike" kern="1200" cap="none" spc="0" normalizeH="0" baseline="0" noProof="0" dirty="0">
                    <a:ln>
                      <a:noFill/>
                    </a:ln>
                    <a:gradFill>
                      <a:gsLst>
                        <a:gs pos="2092">
                          <a:srgbClr val="F8F8F8"/>
                        </a:gs>
                        <a:gs pos="10042">
                          <a:srgbClr val="F8F8F8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+mn-lt"/>
                    <a:ea typeface="Segoe UI" pitchFamily="34" charset="0"/>
                    <a:cs typeface="Segoe UI" pitchFamily="34" charset="0"/>
                  </a:rPr>
                  <a:t>R:80 G:80 B:80</a:t>
                </a:r>
              </a:p>
            </p:txBody>
          </p:sp>
          <p:sp>
            <p:nvSpPr>
              <p:cNvPr id="43" name="Rectangle 42"/>
              <p:cNvSpPr/>
              <p:nvPr userDrawn="1"/>
            </p:nvSpPr>
            <p:spPr bwMode="auto">
              <a:xfrm>
                <a:off x="2498744" y="4882896"/>
                <a:ext cx="869930" cy="289766"/>
              </a:xfrm>
              <a:prstGeom prst="rect">
                <a:avLst/>
              </a:prstGeom>
              <a:solidFill>
                <a:schemeClr val="accent5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500" b="1" i="0" u="none" strike="noStrike" kern="1200" cap="none" spc="0" normalizeH="0" baseline="0" noProof="0" dirty="0">
                    <a:ln>
                      <a:noFill/>
                    </a:ln>
                    <a:gradFill>
                      <a:gsLst>
                        <a:gs pos="37168">
                          <a:srgbClr val="292929"/>
                        </a:gs>
                        <a:gs pos="72000">
                          <a:srgbClr val="292929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+mn-lt"/>
                    <a:ea typeface="Segoe UI" pitchFamily="34" charset="0"/>
                    <a:cs typeface="Segoe UI" pitchFamily="34" charset="0"/>
                  </a:rPr>
                  <a:t>Yellow</a:t>
                </a:r>
              </a:p>
              <a:p>
                <a:pPr marL="0" marR="0" lvl="0" indent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500" b="0" i="0" u="none" strike="noStrike" kern="1200" cap="none" spc="0" normalizeH="0" baseline="0" noProof="0" dirty="0">
                    <a:ln>
                      <a:noFill/>
                    </a:ln>
                    <a:gradFill>
                      <a:gsLst>
                        <a:gs pos="37168">
                          <a:srgbClr val="292929"/>
                        </a:gs>
                        <a:gs pos="72000">
                          <a:srgbClr val="292929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+mn-lt"/>
                    <a:ea typeface="Segoe UI" pitchFamily="34" charset="0"/>
                    <a:cs typeface="Segoe UI" pitchFamily="34" charset="0"/>
                  </a:rPr>
                  <a:t>R:255 G:185 B:0</a:t>
                </a:r>
              </a:p>
            </p:txBody>
          </p:sp>
          <p:sp>
            <p:nvSpPr>
              <p:cNvPr id="44" name="Rectangle 43"/>
              <p:cNvSpPr/>
              <p:nvPr userDrawn="1"/>
            </p:nvSpPr>
            <p:spPr bwMode="auto">
              <a:xfrm>
                <a:off x="3413144" y="4882895"/>
                <a:ext cx="869930" cy="289766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500" b="1" i="0" u="none" strike="noStrike" kern="1200" cap="none" spc="0" normalizeH="0" baseline="0" noProof="0" dirty="0">
                    <a:ln>
                      <a:noFill/>
                    </a:ln>
                    <a:gradFill>
                      <a:gsLst>
                        <a:gs pos="37168">
                          <a:srgbClr val="292929"/>
                        </a:gs>
                        <a:gs pos="72000">
                          <a:srgbClr val="292929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+mn-lt"/>
                    <a:ea typeface="Segoe UI" pitchFamily="34" charset="0"/>
                    <a:cs typeface="Segoe UI" pitchFamily="34" charset="0"/>
                  </a:rPr>
                  <a:t>Light Orange</a:t>
                </a:r>
              </a:p>
              <a:p>
                <a:pPr marL="0" marR="0" lvl="0" indent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500" b="0" i="0" u="none" strike="noStrike" kern="1200" cap="none" spc="0" normalizeH="0" baseline="0" noProof="0" dirty="0">
                    <a:ln>
                      <a:noFill/>
                    </a:ln>
                    <a:gradFill>
                      <a:gsLst>
                        <a:gs pos="37168">
                          <a:srgbClr val="292929"/>
                        </a:gs>
                        <a:gs pos="72000">
                          <a:srgbClr val="292929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+mn-lt"/>
                    <a:ea typeface="Segoe UI" pitchFamily="34" charset="0"/>
                    <a:cs typeface="Segoe UI" pitchFamily="34" charset="0"/>
                  </a:rPr>
                  <a:t>R:255 G:140 B:0</a:t>
                </a:r>
              </a:p>
            </p:txBody>
          </p:sp>
          <p:sp>
            <p:nvSpPr>
              <p:cNvPr id="45" name="Rectangle 44"/>
              <p:cNvSpPr/>
              <p:nvPr userDrawn="1"/>
            </p:nvSpPr>
            <p:spPr bwMode="auto">
              <a:xfrm>
                <a:off x="1584344" y="4882896"/>
                <a:ext cx="869930" cy="289766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500" b="1" i="0" u="none" strike="noStrike" kern="1200" cap="none" spc="0" normalizeH="0" baseline="0" noProof="0" dirty="0">
                    <a:ln>
                      <a:noFill/>
                    </a:ln>
                    <a:gradFill>
                      <a:gsLst>
                        <a:gs pos="37168">
                          <a:srgbClr val="292929"/>
                        </a:gs>
                        <a:gs pos="72000">
                          <a:srgbClr val="292929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+mn-lt"/>
                    <a:ea typeface="Segoe UI" pitchFamily="34" charset="0"/>
                    <a:cs typeface="Segoe UI" pitchFamily="34" charset="0"/>
                  </a:rPr>
                  <a:t>Light Gray</a:t>
                </a:r>
              </a:p>
              <a:p>
                <a:pPr marL="0" marR="0" lvl="0" indent="0" algn="l" defTabSz="932472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500" b="0" i="0" u="none" strike="noStrike" kern="0" cap="none" spc="0" normalizeH="0" baseline="0" noProof="0" dirty="0">
                    <a:ln>
                      <a:noFill/>
                    </a:ln>
                    <a:gradFill>
                      <a:gsLst>
                        <a:gs pos="37168">
                          <a:srgbClr val="292929"/>
                        </a:gs>
                        <a:gs pos="72000">
                          <a:srgbClr val="292929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ea typeface="Segoe UI" pitchFamily="34" charset="0"/>
                    <a:cs typeface="Segoe UI" pitchFamily="34" charset="0"/>
                  </a:rPr>
                  <a:t>R:210 G:210 B:210</a:t>
                </a:r>
              </a:p>
            </p:txBody>
          </p:sp>
        </p:grpSp>
        <p:sp>
          <p:nvSpPr>
            <p:cNvPr id="28" name="TextBox 27"/>
            <p:cNvSpPr txBox="1"/>
            <p:nvPr userDrawn="1"/>
          </p:nvSpPr>
          <p:spPr>
            <a:xfrm rot="5400000">
              <a:off x="12988035" y="260168"/>
              <a:ext cx="843501" cy="323165"/>
            </a:xfrm>
            <a:prstGeom prst="rect">
              <a:avLst/>
            </a:prstGeom>
            <a:noFill/>
          </p:spPr>
          <p:txBody>
            <a:bodyPr wrap="none" lIns="0" tIns="91440" rIns="182880" bIns="91440" rtlCol="0">
              <a:spAutoFit/>
            </a:bodyPr>
            <a:lstStyle/>
            <a:p>
              <a:pPr marL="0" marR="0" lvl="0" indent="0" algn="l" defTabSz="932742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82301">
                        <a:srgbClr val="292929"/>
                      </a:gs>
                      <a:gs pos="62000">
                        <a:srgbClr val="292929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Main colors</a:t>
              </a:r>
            </a:p>
          </p:txBody>
        </p:sp>
        <p:sp>
          <p:nvSpPr>
            <p:cNvPr id="32" name="TextBox 31"/>
            <p:cNvSpPr txBox="1"/>
            <p:nvPr userDrawn="1"/>
          </p:nvSpPr>
          <p:spPr>
            <a:xfrm rot="5400000">
              <a:off x="11742070" y="4230580"/>
              <a:ext cx="2656496" cy="323165"/>
            </a:xfrm>
            <a:prstGeom prst="rect">
              <a:avLst/>
            </a:prstGeom>
            <a:noFill/>
          </p:spPr>
          <p:txBody>
            <a:bodyPr wrap="none" lIns="0" tIns="91440" rIns="182880" bIns="91440" rtlCol="0">
              <a:spAutoFit/>
            </a:bodyPr>
            <a:lstStyle/>
            <a:p>
              <a:pPr marL="0" marR="0" lvl="0" indent="0" algn="l" defTabSz="932742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82301">
                        <a:srgbClr val="292929"/>
                      </a:gs>
                      <a:gs pos="62000">
                        <a:srgbClr val="292929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condary colors (use only when necessary)</a:t>
              </a:r>
            </a:p>
          </p:txBody>
        </p:sp>
        <p:sp>
          <p:nvSpPr>
            <p:cNvPr id="22" name="Rectangle 21"/>
            <p:cNvSpPr/>
            <p:nvPr userDrawn="1"/>
          </p:nvSpPr>
          <p:spPr bwMode="auto">
            <a:xfrm rot="5400000">
              <a:off x="12328888" y="5187119"/>
              <a:ext cx="869930" cy="289766"/>
            </a:xfrm>
            <a:prstGeom prst="rect">
              <a:avLst/>
            </a:prstGeom>
            <a:solidFill>
              <a:srgbClr val="A80000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1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+mn-lt"/>
                  <a:ea typeface="Segoe UI" pitchFamily="34" charset="0"/>
                  <a:cs typeface="Segoe UI" pitchFamily="34" charset="0"/>
                </a:rPr>
                <a:t>Dark Red</a:t>
              </a:r>
            </a:p>
            <a:p>
              <a:pPr marL="0" marR="0" lvl="0" indent="0" algn="l" defTabSz="932472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2092">
                        <a:srgbClr val="F8F8F8"/>
                      </a:gs>
                      <a:gs pos="10042">
                        <a:srgbClr val="F8F8F8"/>
                      </a:gs>
                    </a:gsLst>
                    <a:lin ang="5400000" scaled="0"/>
                  </a:gradFill>
                  <a:effectLst/>
                  <a:uLnTx/>
                  <a:uFillTx/>
                  <a:ea typeface="Segoe UI" pitchFamily="34" charset="0"/>
                  <a:cs typeface="Segoe UI" pitchFamily="34" charset="0"/>
                </a:rPr>
                <a:t>R:168 G:0 B:0</a:t>
              </a:r>
            </a:p>
          </p:txBody>
        </p:sp>
        <p:sp>
          <p:nvSpPr>
            <p:cNvPr id="23" name="Rectangle 22"/>
            <p:cNvSpPr/>
            <p:nvPr userDrawn="1"/>
          </p:nvSpPr>
          <p:spPr bwMode="auto">
            <a:xfrm rot="5400000">
              <a:off x="12328888" y="3353997"/>
              <a:ext cx="869930" cy="289766"/>
            </a:xfrm>
            <a:prstGeom prst="rect">
              <a:avLst/>
            </a:prstGeom>
            <a:solidFill>
              <a:srgbClr val="00BCF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1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+mn-lt"/>
                  <a:ea typeface="Segoe UI" pitchFamily="34" charset="0"/>
                  <a:cs typeface="Segoe UI" pitchFamily="34" charset="0"/>
                </a:rPr>
                <a:t>Light Blue</a:t>
              </a:r>
            </a:p>
            <a:p>
              <a:pPr marL="0" marR="0" lvl="0" indent="0" algn="l" defTabSz="932472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2092">
                        <a:srgbClr val="F8F8F8"/>
                      </a:gs>
                      <a:gs pos="10042">
                        <a:srgbClr val="F8F8F8"/>
                      </a:gs>
                    </a:gsLst>
                    <a:lin ang="5400000" scaled="0"/>
                  </a:gradFill>
                  <a:effectLst/>
                  <a:uLnTx/>
                  <a:uFillTx/>
                  <a:ea typeface="Segoe UI" pitchFamily="34" charset="0"/>
                  <a:cs typeface="Segoe UI" pitchFamily="34" charset="0"/>
                </a:rPr>
                <a:t>R:16 G:124 B:16</a:t>
              </a:r>
            </a:p>
          </p:txBody>
        </p:sp>
        <p:sp>
          <p:nvSpPr>
            <p:cNvPr id="24" name="Rectangle 23"/>
            <p:cNvSpPr/>
            <p:nvPr userDrawn="1"/>
          </p:nvSpPr>
          <p:spPr bwMode="auto">
            <a:xfrm rot="5400000">
              <a:off x="12328888" y="4272719"/>
              <a:ext cx="869930" cy="289766"/>
            </a:xfrm>
            <a:prstGeom prst="rect">
              <a:avLst/>
            </a:prstGeom>
            <a:solidFill>
              <a:srgbClr val="002050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1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+mn-lt"/>
                  <a:ea typeface="Segoe UI" pitchFamily="34" charset="0"/>
                  <a:cs typeface="Segoe UI" pitchFamily="34" charset="0"/>
                </a:rPr>
                <a:t>Dark Blue</a:t>
              </a:r>
            </a:p>
            <a:p>
              <a:pPr marL="0" marR="0" lvl="0" indent="0" algn="l" defTabSz="932472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2092">
                        <a:srgbClr val="F8F8F8"/>
                      </a:gs>
                      <a:gs pos="10042">
                        <a:srgbClr val="F8F8F8"/>
                      </a:gs>
                    </a:gsLst>
                    <a:lin ang="5400000" scaled="0"/>
                  </a:gradFill>
                  <a:effectLst/>
                  <a:uLnTx/>
                  <a:uFillTx/>
                  <a:ea typeface="Segoe UI" pitchFamily="34" charset="0"/>
                  <a:cs typeface="Segoe UI" pitchFamily="34" charset="0"/>
                </a:rPr>
                <a:t>R0 G32 B80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7546403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66" r:id="rId1"/>
    <p:sldLayoutId id="2147484367" r:id="rId2"/>
    <p:sldLayoutId id="2147484368" r:id="rId3"/>
    <p:sldLayoutId id="2147484369" r:id="rId4"/>
    <p:sldLayoutId id="2147484370" r:id="rId5"/>
    <p:sldLayoutId id="2147484371" r:id="rId6"/>
    <p:sldLayoutId id="2147484372" r:id="rId7"/>
    <p:sldLayoutId id="2147484373" r:id="rId8"/>
    <p:sldLayoutId id="2147484374" r:id="rId9"/>
    <p:sldLayoutId id="2147484375" r:id="rId10"/>
    <p:sldLayoutId id="2147484376" r:id="rId11"/>
    <p:sldLayoutId id="2147484377" r:id="rId12"/>
    <p:sldLayoutId id="2147484378" r:id="rId13"/>
    <p:sldLayoutId id="2147484379" r:id="rId14"/>
    <p:sldLayoutId id="2147484380" r:id="rId15"/>
    <p:sldLayoutId id="2147484381" r:id="rId16"/>
    <p:sldLayoutId id="2147484382" r:id="rId17"/>
    <p:sldLayoutId id="2147484383" r:id="rId18"/>
    <p:sldLayoutId id="2147484384" r:id="rId19"/>
    <p:sldLayoutId id="2147484385" r:id="rId20"/>
    <p:sldLayoutId id="2147484386" r:id="rId21"/>
    <p:sldLayoutId id="2147484388" r:id="rId22"/>
    <p:sldLayoutId id="2147484389" r:id="rId23"/>
    <p:sldLayoutId id="2147484390" r:id="rId24"/>
    <p:sldLayoutId id="2147484392" r:id="rId25"/>
  </p:sldLayoutIdLst>
  <p:transition>
    <p:fade/>
  </p:transition>
  <p:txStyles>
    <p:titleStyle>
      <a:lvl1pPr algn="l" defTabSz="932742" rtl="0" eaLnBrk="1" latinLnBrk="0" hangingPunct="1">
        <a:lnSpc>
          <a:spcPct val="90000"/>
        </a:lnSpc>
        <a:spcBef>
          <a:spcPct val="0"/>
        </a:spcBef>
        <a:buNone/>
        <a:defRPr lang="en-US" sz="4800" b="0" kern="1200" cap="none" spc="-102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42900" marR="0" indent="-3429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4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84200" marR="0" indent="-2413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8001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287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573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21212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4639" y="295275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74641" y="1212851"/>
            <a:ext cx="11887198" cy="2092881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53339692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4396" r:id="rId1"/>
    <p:sldLayoutId id="2147484397" r:id="rId2"/>
    <p:sldLayoutId id="2147484398" r:id="rId3"/>
    <p:sldLayoutId id="2147484403" r:id="rId4"/>
    <p:sldLayoutId id="2147484406" r:id="rId5"/>
    <p:sldLayoutId id="2147484407" r:id="rId6"/>
    <p:sldLayoutId id="2147484408" r:id="rId7"/>
  </p:sldLayoutIdLst>
  <p:transition>
    <p:fade/>
  </p:transition>
  <p:txStyles>
    <p:titleStyle>
      <a:lvl1pPr algn="l" defTabSz="932563" rtl="0" eaLnBrk="1" latinLnBrk="0" hangingPunct="1">
        <a:lnSpc>
          <a:spcPct val="90000"/>
        </a:lnSpc>
        <a:spcBef>
          <a:spcPct val="0"/>
        </a:spcBef>
        <a:buNone/>
        <a:defRPr lang="en-US" sz="4799" b="0" kern="1200" cap="none" spc="-102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42834" marR="0" indent="-342834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799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Segoe UI Semilight" panose="020B0402040204020203" pitchFamily="34" charset="0"/>
        </a:defRPr>
      </a:lvl1pPr>
      <a:lvl2pPr marL="584088" marR="0" indent="-241253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Segoe UI Semilight" panose="020B0402040204020203" pitchFamily="34" charset="0"/>
        </a:defRPr>
      </a:lvl2pPr>
      <a:lvl3pPr marL="799946" marR="0" indent="-228557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Segoe UI Semilight" panose="020B0402040204020203" pitchFamily="34" charset="0"/>
        </a:defRPr>
      </a:lvl3pPr>
      <a:lvl4pPr marL="1028503" marR="0" indent="-228557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Segoe UI Semilight" panose="020B0402040204020203" pitchFamily="34" charset="0"/>
        </a:defRPr>
      </a:lvl4pPr>
      <a:lvl5pPr marL="1257058" marR="0" indent="-228557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Segoe UI Semilight" panose="020B0402040204020203" pitchFamily="34" charset="0"/>
        </a:defRPr>
      </a:lvl5pPr>
      <a:lvl6pPr marL="2564548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0830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112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3394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281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563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8844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126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408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7689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3970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253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4639" y="295275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74641" y="1212851"/>
            <a:ext cx="11887198" cy="2228302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17"/>
          <a:stretch>
            <a:fillRect/>
          </a:stretch>
        </p:blipFill>
        <p:spPr>
          <a:xfrm rot="5400000">
            <a:off x="9489150" y="3050514"/>
            <a:ext cx="6995160" cy="894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222191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4422" r:id="rId1"/>
    <p:sldLayoutId id="2147484423" r:id="rId2"/>
    <p:sldLayoutId id="2147484424" r:id="rId3"/>
    <p:sldLayoutId id="2147484425" r:id="rId4"/>
    <p:sldLayoutId id="2147484426" r:id="rId5"/>
    <p:sldLayoutId id="2147484427" r:id="rId6"/>
    <p:sldLayoutId id="2147484428" r:id="rId7"/>
    <p:sldLayoutId id="2147484429" r:id="rId8"/>
    <p:sldLayoutId id="2147484430" r:id="rId9"/>
    <p:sldLayoutId id="2147484431" r:id="rId10"/>
    <p:sldLayoutId id="2147484432" r:id="rId11"/>
    <p:sldLayoutId id="2147484433" r:id="rId12"/>
    <p:sldLayoutId id="2147484434" r:id="rId13"/>
    <p:sldLayoutId id="2147484436" r:id="rId14"/>
    <p:sldLayoutId id="2147484437" r:id="rId15"/>
  </p:sldLayoutIdLst>
  <p:transition>
    <p:fade/>
  </p:transition>
  <p:txStyles>
    <p:titleStyle>
      <a:lvl1pPr algn="l" defTabSz="932563" rtl="0" eaLnBrk="1" latinLnBrk="0" hangingPunct="1">
        <a:lnSpc>
          <a:spcPct val="90000"/>
        </a:lnSpc>
        <a:spcBef>
          <a:spcPct val="0"/>
        </a:spcBef>
        <a:buNone/>
        <a:defRPr lang="en-US" sz="5399" b="0" kern="1200" cap="none" spc="-102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42834" marR="0" indent="-342834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>
          <a:schemeClr val="tx1"/>
        </a:buClr>
        <a:buSzPct val="90000"/>
        <a:buFont typeface="Wingdings" panose="05000000000000000000" pitchFamily="2" charset="2"/>
        <a:buChar char="§"/>
        <a:tabLst/>
        <a:defRPr sz="3999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84088" marR="0" indent="-241253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>
          <a:schemeClr val="tx1"/>
        </a:buClr>
        <a:buSzPct val="90000"/>
        <a:buFont typeface="Wingdings" panose="05000000000000000000" pitchFamily="2" charset="2"/>
        <a:buChar char="§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99946" marR="0" indent="-228557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>
          <a:schemeClr val="tx1"/>
        </a:buClr>
        <a:buSzPct val="90000"/>
        <a:buFont typeface="Wingdings" panose="05000000000000000000" pitchFamily="2" charset="2"/>
        <a:buChar char="§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28503" marR="0" indent="-228557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>
          <a:schemeClr val="tx1"/>
        </a:buClr>
        <a:buSzPct val="90000"/>
        <a:buFont typeface="Wingdings" panose="05000000000000000000" pitchFamily="2" charset="2"/>
        <a:buChar char="§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57058" marR="0" indent="-228557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>
          <a:schemeClr val="tx1"/>
        </a:buClr>
        <a:buSzPct val="90000"/>
        <a:buFont typeface="Wingdings" panose="05000000000000000000" pitchFamily="2" charset="2"/>
        <a:buChar char="§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4548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0830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112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3394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281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563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8844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126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408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7689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3970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253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661">
          <p15:clr>
            <a:srgbClr val="5ACBF0"/>
          </p15:clr>
        </p15:guide>
        <p15:guide id="4" orient="horz" pos="4219">
          <p15:clr>
            <a:srgbClr val="5ACBF0"/>
          </p15:clr>
        </p15:guide>
        <p15:guide id="5" pos="749">
          <p15:clr>
            <a:srgbClr val="5ACBF0"/>
          </p15:clr>
        </p15:guide>
        <p15:guide id="6" pos="1325">
          <p15:clr>
            <a:srgbClr val="5ACBF0"/>
          </p15:clr>
        </p15:guide>
        <p15:guide id="7" pos="1901">
          <p15:clr>
            <a:srgbClr val="5ACBF0"/>
          </p15:clr>
        </p15:guide>
        <p15:guide id="8" pos="2477">
          <p15:clr>
            <a:srgbClr val="5ACBF0"/>
          </p15:clr>
        </p15:guide>
        <p15:guide id="9" pos="3053">
          <p15:clr>
            <a:srgbClr val="5ACBF0"/>
          </p15:clr>
        </p15:guide>
        <p15:guide id="10" pos="3629">
          <p15:clr>
            <a:srgbClr val="5ACBF0"/>
          </p15:clr>
        </p15:guide>
        <p15:guide id="11" pos="4205">
          <p15:clr>
            <a:srgbClr val="5ACBF0"/>
          </p15:clr>
        </p15:guide>
        <p15:guide id="12" pos="4781">
          <p15:clr>
            <a:srgbClr val="5ACBF0"/>
          </p15:clr>
        </p15:guide>
        <p15:guide id="13" pos="5357">
          <p15:clr>
            <a:srgbClr val="5ACBF0"/>
          </p15:clr>
        </p15:guide>
        <p15:guide id="14" pos="5933">
          <p15:clr>
            <a:srgbClr val="5ACBF0"/>
          </p15:clr>
        </p15:guide>
        <p15:guide id="15" pos="6509">
          <p15:clr>
            <a:srgbClr val="5ACBF0"/>
          </p15:clr>
        </p15:guide>
        <p15:guide id="16" pos="7085">
          <p15:clr>
            <a:srgbClr val="5ACBF0"/>
          </p15:clr>
        </p15:guide>
        <p15:guide id="17" orient="horz" pos="763">
          <p15:clr>
            <a:srgbClr val="5ACBF0"/>
          </p15:clr>
        </p15:guide>
        <p15:guide id="18" orient="horz" pos="1339">
          <p15:clr>
            <a:srgbClr val="5ACBF0"/>
          </p15:clr>
        </p15:guide>
        <p15:guide id="19" orient="horz" pos="1915">
          <p15:clr>
            <a:srgbClr val="5ACBF0"/>
          </p15:clr>
        </p15:guide>
        <p15:guide id="20" orient="horz" pos="2491">
          <p15:clr>
            <a:srgbClr val="5ACBF0"/>
          </p15:clr>
        </p15:guide>
        <p15:guide id="21" orient="horz" pos="3067">
          <p15:clr>
            <a:srgbClr val="5ACBF0"/>
          </p15:clr>
        </p15:guide>
        <p15:guide id="22" orient="horz" pos="3643">
          <p15:clr>
            <a:srgbClr val="5ACBF0"/>
          </p15:clr>
        </p15:guide>
        <p15:guide id="23" pos="286">
          <p15:clr>
            <a:srgbClr val="C35EA4"/>
          </p15:clr>
        </p15:guide>
        <p15:guide id="24" pos="7547">
          <p15:clr>
            <a:srgbClr val="C35EA4"/>
          </p15:clr>
        </p15:guide>
        <p15:guide id="25" orient="horz" pos="305">
          <p15:clr>
            <a:srgbClr val="C35EA4"/>
          </p15:clr>
        </p15:guide>
        <p15:guide id="26" orient="horz" pos="4106">
          <p15:clr>
            <a:srgbClr val="C35EA4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4639" y="295275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74641" y="1212851"/>
            <a:ext cx="11887198" cy="2228302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10532395" y="1944336"/>
            <a:ext cx="4298019" cy="4093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3472436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4484" r:id="rId1"/>
    <p:sldLayoutId id="2147484485" r:id="rId2"/>
    <p:sldLayoutId id="2147484486" r:id="rId3"/>
    <p:sldLayoutId id="2147484487" r:id="rId4"/>
    <p:sldLayoutId id="2147484488" r:id="rId5"/>
    <p:sldLayoutId id="2147484489" r:id="rId6"/>
    <p:sldLayoutId id="2147484490" r:id="rId7"/>
    <p:sldLayoutId id="2147484491" r:id="rId8"/>
    <p:sldLayoutId id="2147484492" r:id="rId9"/>
    <p:sldLayoutId id="2147484493" r:id="rId10"/>
    <p:sldLayoutId id="2147484494" r:id="rId11"/>
    <p:sldLayoutId id="2147484495" r:id="rId12"/>
    <p:sldLayoutId id="2147484496" r:id="rId13"/>
    <p:sldLayoutId id="2147484497" r:id="rId14"/>
    <p:sldLayoutId id="2147484498" r:id="rId15"/>
    <p:sldLayoutId id="2147484499" r:id="rId16"/>
    <p:sldLayoutId id="2147484500" r:id="rId17"/>
    <p:sldLayoutId id="2147484501" r:id="rId18"/>
    <p:sldLayoutId id="2147484502" r:id="rId19"/>
    <p:sldLayoutId id="2147484503" r:id="rId20"/>
    <p:sldLayoutId id="2147484504" r:id="rId21"/>
    <p:sldLayoutId id="2147484505" r:id="rId22"/>
    <p:sldLayoutId id="2147484507" r:id="rId23"/>
  </p:sldLayoutIdLst>
  <p:transition>
    <p:fade/>
  </p:transition>
  <p:txStyles>
    <p:titleStyle>
      <a:lvl1pPr algn="l" defTabSz="932563" rtl="0" eaLnBrk="1" latinLnBrk="0" hangingPunct="1">
        <a:lnSpc>
          <a:spcPct val="90000"/>
        </a:lnSpc>
        <a:spcBef>
          <a:spcPct val="0"/>
        </a:spcBef>
        <a:buNone/>
        <a:defRPr lang="en-US" sz="5399" b="0" kern="1200" cap="none" spc="-102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42834" marR="0" indent="-342834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>
          <a:schemeClr val="tx1"/>
        </a:buClr>
        <a:buSzPct val="100000"/>
        <a:buFontTx/>
        <a:buBlip>
          <a:blip r:embed="rId26"/>
        </a:buBlip>
        <a:tabLst/>
        <a:defRPr sz="3999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84088" marR="0" indent="-241253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>
          <a:schemeClr val="tx1"/>
        </a:buClr>
        <a:buSzPct val="100000"/>
        <a:buFontTx/>
        <a:buBlip>
          <a:blip r:embed="rId26"/>
        </a:buBlip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99946" marR="0" indent="-228557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>
          <a:schemeClr val="tx1"/>
        </a:buClr>
        <a:buSzPct val="100000"/>
        <a:buFontTx/>
        <a:buBlip>
          <a:blip r:embed="rId26"/>
        </a:buBlip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28503" marR="0" indent="-228557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>
          <a:schemeClr val="tx1"/>
        </a:buClr>
        <a:buSzPct val="100000"/>
        <a:buFontTx/>
        <a:buBlip>
          <a:blip r:embed="rId26"/>
        </a:buBlip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57058" marR="0" indent="-228557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>
          <a:schemeClr val="tx1"/>
        </a:buClr>
        <a:buSzPct val="100000"/>
        <a:buFontTx/>
        <a:buBlip>
          <a:blip r:embed="rId26"/>
        </a:buBlip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4548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0830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112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3394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281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563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8844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126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408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7689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3970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253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661">
          <p15:clr>
            <a:srgbClr val="5ACBF0"/>
          </p15:clr>
        </p15:guide>
        <p15:guide id="4" orient="horz" pos="4219">
          <p15:clr>
            <a:srgbClr val="5ACBF0"/>
          </p15:clr>
        </p15:guide>
        <p15:guide id="5" pos="749">
          <p15:clr>
            <a:srgbClr val="5ACBF0"/>
          </p15:clr>
        </p15:guide>
        <p15:guide id="6" pos="1325">
          <p15:clr>
            <a:srgbClr val="5ACBF0"/>
          </p15:clr>
        </p15:guide>
        <p15:guide id="7" pos="1901">
          <p15:clr>
            <a:srgbClr val="5ACBF0"/>
          </p15:clr>
        </p15:guide>
        <p15:guide id="8" pos="2477">
          <p15:clr>
            <a:srgbClr val="5ACBF0"/>
          </p15:clr>
        </p15:guide>
        <p15:guide id="9" pos="3053">
          <p15:clr>
            <a:srgbClr val="5ACBF0"/>
          </p15:clr>
        </p15:guide>
        <p15:guide id="10" pos="3629">
          <p15:clr>
            <a:srgbClr val="5ACBF0"/>
          </p15:clr>
        </p15:guide>
        <p15:guide id="11" pos="4205">
          <p15:clr>
            <a:srgbClr val="5ACBF0"/>
          </p15:clr>
        </p15:guide>
        <p15:guide id="12" pos="4781">
          <p15:clr>
            <a:srgbClr val="5ACBF0"/>
          </p15:clr>
        </p15:guide>
        <p15:guide id="13" pos="5357">
          <p15:clr>
            <a:srgbClr val="5ACBF0"/>
          </p15:clr>
        </p15:guide>
        <p15:guide id="14" pos="5933">
          <p15:clr>
            <a:srgbClr val="5ACBF0"/>
          </p15:clr>
        </p15:guide>
        <p15:guide id="15" pos="6509">
          <p15:clr>
            <a:srgbClr val="5ACBF0"/>
          </p15:clr>
        </p15:guide>
        <p15:guide id="16" pos="7085">
          <p15:clr>
            <a:srgbClr val="5ACBF0"/>
          </p15:clr>
        </p15:guide>
        <p15:guide id="17" orient="horz" pos="763">
          <p15:clr>
            <a:srgbClr val="5ACBF0"/>
          </p15:clr>
        </p15:guide>
        <p15:guide id="18" orient="horz" pos="1339">
          <p15:clr>
            <a:srgbClr val="5ACBF0"/>
          </p15:clr>
        </p15:guide>
        <p15:guide id="19" orient="horz" pos="1915">
          <p15:clr>
            <a:srgbClr val="5ACBF0"/>
          </p15:clr>
        </p15:guide>
        <p15:guide id="20" orient="horz" pos="2491">
          <p15:clr>
            <a:srgbClr val="5ACBF0"/>
          </p15:clr>
        </p15:guide>
        <p15:guide id="21" orient="horz" pos="3067">
          <p15:clr>
            <a:srgbClr val="5ACBF0"/>
          </p15:clr>
        </p15:guide>
        <p15:guide id="22" orient="horz" pos="3643">
          <p15:clr>
            <a:srgbClr val="5ACBF0"/>
          </p15:clr>
        </p15:guide>
        <p15:guide id="23" pos="288">
          <p15:clr>
            <a:srgbClr val="C35EA4"/>
          </p15:clr>
        </p15:guide>
        <p15:guide id="24" pos="7546">
          <p15:clr>
            <a:srgbClr val="C35EA4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4639" y="295275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74641" y="1212851"/>
            <a:ext cx="11887198" cy="2092881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18" name="Group 17"/>
          <p:cNvGrpSpPr/>
          <p:nvPr userDrawn="1"/>
        </p:nvGrpSpPr>
        <p:grpSpPr>
          <a:xfrm>
            <a:off x="12618964" y="-8395"/>
            <a:ext cx="955641" cy="5775361"/>
            <a:chOff x="12618967" y="-8396"/>
            <a:chExt cx="955641" cy="5775361"/>
          </a:xfrm>
        </p:grpSpPr>
        <p:grpSp>
          <p:nvGrpSpPr>
            <p:cNvPr id="26" name="Group 25"/>
            <p:cNvGrpSpPr/>
            <p:nvPr userDrawn="1"/>
          </p:nvGrpSpPr>
          <p:grpSpPr>
            <a:xfrm rot="5400000">
              <a:off x="11582059" y="1045293"/>
              <a:ext cx="2703052" cy="629236"/>
              <a:chOff x="1586734" y="4543426"/>
              <a:chExt cx="2703052" cy="629236"/>
            </a:xfrm>
          </p:grpSpPr>
          <p:sp>
            <p:nvSpPr>
              <p:cNvPr id="45" name="Rectangle 44"/>
              <p:cNvSpPr/>
              <p:nvPr userDrawn="1"/>
            </p:nvSpPr>
            <p:spPr bwMode="auto">
              <a:xfrm>
                <a:off x="1586734" y="4543427"/>
                <a:ext cx="869930" cy="289766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algn="l" defTabSz="932293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b="1" kern="1200" baseline="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Blue</a:t>
                </a:r>
              </a:p>
              <a:p>
                <a:pPr algn="l" defTabSz="932293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dirty="0">
                    <a:gradFill>
                      <a:gsLst>
                        <a:gs pos="2092">
                          <a:srgbClr val="F8F8F8"/>
                        </a:gs>
                        <a:gs pos="10042">
                          <a:srgbClr val="F8F8F8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R:</a:t>
                </a:r>
                <a:r>
                  <a:rPr lang="en-US" sz="500" baseline="0" dirty="0">
                    <a:gradFill>
                      <a:gsLst>
                        <a:gs pos="2092">
                          <a:srgbClr val="F8F8F8"/>
                        </a:gs>
                        <a:gs pos="10042">
                          <a:srgbClr val="F8F8F8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0 G:120 B:215</a:t>
                </a:r>
                <a:endParaRPr lang="en-US" sz="500" dirty="0">
                  <a:gradFill>
                    <a:gsLst>
                      <a:gs pos="2092">
                        <a:srgbClr val="F8F8F8"/>
                      </a:gs>
                      <a:gs pos="10042">
                        <a:srgbClr val="F8F8F8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37" name="Rectangle 36"/>
              <p:cNvSpPr/>
              <p:nvPr userDrawn="1"/>
            </p:nvSpPr>
            <p:spPr bwMode="auto">
              <a:xfrm>
                <a:off x="3419856" y="4543428"/>
                <a:ext cx="869930" cy="289766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 defTabSz="932293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b="1" kern="1200" baseline="0" dirty="0">
                    <a:gradFill>
                      <a:gsLst>
                        <a:gs pos="7965">
                          <a:srgbClr val="000000"/>
                        </a:gs>
                        <a:gs pos="28319">
                          <a:srgbClr val="000000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Cyan</a:t>
                </a:r>
              </a:p>
              <a:p>
                <a:pPr algn="l" defTabSz="932293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dirty="0">
                    <a:gradFill>
                      <a:gsLst>
                        <a:gs pos="7965">
                          <a:srgbClr val="000000"/>
                        </a:gs>
                        <a:gs pos="28319">
                          <a:srgbClr val="000000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R:</a:t>
                </a:r>
                <a:r>
                  <a:rPr lang="en-US" sz="500" baseline="0" dirty="0">
                    <a:gradFill>
                      <a:gsLst>
                        <a:gs pos="7965">
                          <a:srgbClr val="000000"/>
                        </a:gs>
                        <a:gs pos="28319">
                          <a:srgbClr val="000000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0 G:188 B:242</a:t>
                </a:r>
                <a:endParaRPr lang="en-US" sz="500" dirty="0">
                  <a:gradFill>
                    <a:gsLst>
                      <a:gs pos="7965">
                        <a:srgbClr val="000000"/>
                      </a:gs>
                      <a:gs pos="28319">
                        <a:srgbClr val="000000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41" name="Rectangle 40"/>
              <p:cNvSpPr/>
              <p:nvPr userDrawn="1"/>
            </p:nvSpPr>
            <p:spPr bwMode="auto">
              <a:xfrm>
                <a:off x="1586734" y="4882896"/>
                <a:ext cx="869930" cy="289766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 defTabSz="932293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b="1" kern="1200" baseline="0" dirty="0">
                    <a:gradFill>
                      <a:gsLst>
                        <a:gs pos="92035">
                          <a:srgbClr val="505050"/>
                        </a:gs>
                        <a:gs pos="27000">
                          <a:srgbClr val="505050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Light Gray</a:t>
                </a:r>
              </a:p>
              <a:p>
                <a:pPr algn="l" defTabSz="932293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dirty="0">
                    <a:gradFill>
                      <a:gsLst>
                        <a:gs pos="92035">
                          <a:srgbClr val="505050"/>
                        </a:gs>
                        <a:gs pos="27000">
                          <a:srgbClr val="505050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R:</a:t>
                </a:r>
                <a:r>
                  <a:rPr lang="en-US" sz="500" baseline="0" dirty="0">
                    <a:gradFill>
                      <a:gsLst>
                        <a:gs pos="92035">
                          <a:srgbClr val="505050"/>
                        </a:gs>
                        <a:gs pos="27000">
                          <a:srgbClr val="505050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210 G:210 B:210</a:t>
                </a:r>
                <a:endParaRPr lang="en-US" sz="500" dirty="0">
                  <a:gradFill>
                    <a:gsLst>
                      <a:gs pos="92035">
                        <a:srgbClr val="505050"/>
                      </a:gs>
                      <a:gs pos="27000">
                        <a:srgbClr val="505050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42" name="Rectangle 41"/>
              <p:cNvSpPr/>
              <p:nvPr userDrawn="1"/>
            </p:nvSpPr>
            <p:spPr bwMode="auto">
              <a:xfrm>
                <a:off x="2505456" y="4543426"/>
                <a:ext cx="869930" cy="289766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algn="l" defTabSz="932293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b="1" kern="1200" baseline="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Dark Blue</a:t>
                </a:r>
              </a:p>
              <a:p>
                <a:pPr algn="l" defTabSz="932293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R:</a:t>
                </a:r>
                <a:r>
                  <a:rPr lang="en-US" sz="500" baseline="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0 G:32 B:80</a:t>
                </a:r>
                <a:endParaRPr lang="en-US" sz="50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43" name="Rectangle 42"/>
              <p:cNvSpPr/>
              <p:nvPr userDrawn="1"/>
            </p:nvSpPr>
            <p:spPr bwMode="auto">
              <a:xfrm>
                <a:off x="3413144" y="4882896"/>
                <a:ext cx="869930" cy="28976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algn="l" defTabSz="932293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b="1" kern="1200" baseline="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Dark Gray</a:t>
                </a:r>
              </a:p>
              <a:p>
                <a:pPr algn="l" defTabSz="932293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dirty="0">
                    <a:gradFill>
                      <a:gsLst>
                        <a:gs pos="2092">
                          <a:srgbClr val="F8F8F8"/>
                        </a:gs>
                        <a:gs pos="10042">
                          <a:srgbClr val="F8F8F8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R:</a:t>
                </a:r>
                <a:r>
                  <a:rPr lang="en-US" sz="500" baseline="0" dirty="0">
                    <a:gradFill>
                      <a:gsLst>
                        <a:gs pos="2092">
                          <a:srgbClr val="F8F8F8"/>
                        </a:gs>
                        <a:gs pos="10042">
                          <a:srgbClr val="F8F8F8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80 G:80 B:80</a:t>
                </a:r>
                <a:endParaRPr lang="en-US" sz="500" dirty="0">
                  <a:gradFill>
                    <a:gsLst>
                      <a:gs pos="2092">
                        <a:srgbClr val="F8F8F8"/>
                      </a:gs>
                      <a:gs pos="10042">
                        <a:srgbClr val="F8F8F8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44" name="Rectangle 43"/>
              <p:cNvSpPr/>
              <p:nvPr userDrawn="1"/>
            </p:nvSpPr>
            <p:spPr bwMode="auto">
              <a:xfrm>
                <a:off x="2505456" y="4882895"/>
                <a:ext cx="869930" cy="289766"/>
              </a:xfrm>
              <a:prstGeom prst="rect">
                <a:avLst/>
              </a:prstGeom>
              <a:solidFill>
                <a:srgbClr val="737373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algn="l" defTabSz="932293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b="1" kern="1200" baseline="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Gray</a:t>
                </a:r>
              </a:p>
              <a:p>
                <a:pPr algn="l" defTabSz="932293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dirty="0">
                    <a:gradFill>
                      <a:gsLst>
                        <a:gs pos="2092">
                          <a:srgbClr val="F8F8F8"/>
                        </a:gs>
                        <a:gs pos="10042">
                          <a:srgbClr val="F8F8F8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R:</a:t>
                </a:r>
                <a:r>
                  <a:rPr lang="en-US" sz="500" baseline="0" dirty="0">
                    <a:gradFill>
                      <a:gsLst>
                        <a:gs pos="2092">
                          <a:srgbClr val="F8F8F8"/>
                        </a:gs>
                        <a:gs pos="10042">
                          <a:srgbClr val="F8F8F8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115 G:115 B:115</a:t>
                </a:r>
                <a:endParaRPr lang="en-US" sz="500" dirty="0">
                  <a:gradFill>
                    <a:gsLst>
                      <a:gs pos="2092">
                        <a:srgbClr val="F8F8F8"/>
                      </a:gs>
                      <a:gs pos="10042">
                        <a:srgbClr val="F8F8F8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</p:grpSp>
        <p:grpSp>
          <p:nvGrpSpPr>
            <p:cNvPr id="27" name="Group 26"/>
            <p:cNvGrpSpPr/>
            <p:nvPr userDrawn="1"/>
          </p:nvGrpSpPr>
          <p:grpSpPr>
            <a:xfrm rot="5400000">
              <a:off x="11412325" y="4270556"/>
              <a:ext cx="2703052" cy="289766"/>
              <a:chOff x="4476564" y="4543426"/>
              <a:chExt cx="2703052" cy="289766"/>
            </a:xfrm>
          </p:grpSpPr>
          <p:sp>
            <p:nvSpPr>
              <p:cNvPr id="33" name="Rectangle 32"/>
              <p:cNvSpPr/>
              <p:nvPr userDrawn="1"/>
            </p:nvSpPr>
            <p:spPr bwMode="auto">
              <a:xfrm>
                <a:off x="5395286" y="4543426"/>
                <a:ext cx="869930" cy="289766"/>
              </a:xfrm>
              <a:prstGeom prst="rect">
                <a:avLst/>
              </a:prstGeom>
              <a:solidFill>
                <a:srgbClr val="5C2D9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algn="l" defTabSz="932293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b="1" kern="1200" baseline="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Purple</a:t>
                </a:r>
              </a:p>
              <a:p>
                <a:pPr marL="0" algn="l" defTabSz="932293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kern="1200" dirty="0">
                    <a:gradFill>
                      <a:gsLst>
                        <a:gs pos="2092">
                          <a:srgbClr val="F8F8F8"/>
                        </a:gs>
                        <a:gs pos="10042">
                          <a:srgbClr val="F8F8F8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R:92 G:45 B:145</a:t>
                </a:r>
              </a:p>
            </p:txBody>
          </p:sp>
          <p:sp>
            <p:nvSpPr>
              <p:cNvPr id="34" name="Rectangle 33"/>
              <p:cNvSpPr/>
              <p:nvPr userDrawn="1"/>
            </p:nvSpPr>
            <p:spPr bwMode="auto">
              <a:xfrm>
                <a:off x="6309686" y="4543426"/>
                <a:ext cx="869930" cy="289766"/>
              </a:xfrm>
              <a:prstGeom prst="rect">
                <a:avLst/>
              </a:prstGeom>
              <a:solidFill>
                <a:srgbClr val="D83B0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algn="l" defTabSz="932293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b="1" kern="1200" baseline="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Orange</a:t>
                </a:r>
              </a:p>
              <a:p>
                <a:pPr algn="l" defTabSz="932293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dirty="0">
                    <a:gradFill>
                      <a:gsLst>
                        <a:gs pos="2092">
                          <a:srgbClr val="F8F8F8"/>
                        </a:gs>
                        <a:gs pos="10042">
                          <a:srgbClr val="F8F8F8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R:</a:t>
                </a:r>
                <a:r>
                  <a:rPr lang="en-US" sz="500" baseline="0" dirty="0">
                    <a:gradFill>
                      <a:gsLst>
                        <a:gs pos="2092">
                          <a:srgbClr val="F8F8F8"/>
                        </a:gs>
                        <a:gs pos="10042">
                          <a:srgbClr val="F8F8F8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216 G:59 B:1</a:t>
                </a:r>
              </a:p>
            </p:txBody>
          </p:sp>
          <p:sp>
            <p:nvSpPr>
              <p:cNvPr id="35" name="Rectangle 34"/>
              <p:cNvSpPr/>
              <p:nvPr userDrawn="1"/>
            </p:nvSpPr>
            <p:spPr bwMode="auto">
              <a:xfrm>
                <a:off x="4476564" y="4543426"/>
                <a:ext cx="869930" cy="289766"/>
              </a:xfrm>
              <a:prstGeom prst="rect">
                <a:avLst/>
              </a:prstGeom>
              <a:solidFill>
                <a:srgbClr val="107C10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algn="l" defTabSz="932293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b="1" kern="1200" baseline="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Green</a:t>
                </a:r>
              </a:p>
              <a:p>
                <a:pPr algn="l" defTabSz="932293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dirty="0">
                    <a:gradFill>
                      <a:gsLst>
                        <a:gs pos="2092">
                          <a:srgbClr val="F8F8F8"/>
                        </a:gs>
                        <a:gs pos="10042">
                          <a:srgbClr val="F8F8F8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R:</a:t>
                </a:r>
                <a:r>
                  <a:rPr lang="en-US" sz="500" baseline="0" dirty="0">
                    <a:gradFill>
                      <a:gsLst>
                        <a:gs pos="2092">
                          <a:srgbClr val="F8F8F8"/>
                        </a:gs>
                        <a:gs pos="10042">
                          <a:srgbClr val="F8F8F8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16 G:124 B:16</a:t>
                </a:r>
                <a:endParaRPr lang="en-US" sz="500" dirty="0">
                  <a:gradFill>
                    <a:gsLst>
                      <a:gs pos="2092">
                        <a:srgbClr val="F8F8F8"/>
                      </a:gs>
                      <a:gs pos="10042">
                        <a:srgbClr val="F8F8F8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</p:grpSp>
        <p:sp>
          <p:nvSpPr>
            <p:cNvPr id="28" name="TextBox 27"/>
            <p:cNvSpPr txBox="1"/>
            <p:nvPr userDrawn="1"/>
          </p:nvSpPr>
          <p:spPr>
            <a:xfrm rot="5400000">
              <a:off x="12979639" y="256928"/>
              <a:ext cx="860293" cy="329645"/>
            </a:xfrm>
            <a:prstGeom prst="rect">
              <a:avLst/>
            </a:prstGeom>
            <a:noFill/>
          </p:spPr>
          <p:txBody>
            <a:bodyPr wrap="none" lIns="0" tIns="91440" rIns="182880" bIns="91440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600"/>
                </a:spcAft>
              </a:pPr>
              <a:r>
                <a:rPr lang="en-US" sz="10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Main colors</a:t>
              </a:r>
            </a:p>
          </p:txBody>
        </p:sp>
        <p:sp>
          <p:nvSpPr>
            <p:cNvPr id="32" name="TextBox 31"/>
            <p:cNvSpPr txBox="1"/>
            <p:nvPr userDrawn="1"/>
          </p:nvSpPr>
          <p:spPr>
            <a:xfrm rot="5400000">
              <a:off x="11715628" y="4227340"/>
              <a:ext cx="2709380" cy="329645"/>
            </a:xfrm>
            <a:prstGeom prst="rect">
              <a:avLst/>
            </a:prstGeom>
            <a:noFill/>
          </p:spPr>
          <p:txBody>
            <a:bodyPr wrap="none" lIns="0" tIns="91440" rIns="182880" bIns="91440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600"/>
                </a:spcAft>
              </a:pPr>
              <a:r>
                <a:rPr lang="en-US" sz="10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Secondary colors (use only when</a:t>
              </a:r>
              <a:r>
                <a:rPr lang="en-US" sz="1000" baseline="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 necessary)</a:t>
              </a:r>
              <a:endParaRPr lang="en-US" sz="1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437310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09" r:id="rId1"/>
    <p:sldLayoutId id="2147484510" r:id="rId2"/>
    <p:sldLayoutId id="2147484511" r:id="rId3"/>
    <p:sldLayoutId id="2147484512" r:id="rId4"/>
    <p:sldLayoutId id="2147484513" r:id="rId5"/>
    <p:sldLayoutId id="2147484514" r:id="rId6"/>
    <p:sldLayoutId id="2147484515" r:id="rId7"/>
    <p:sldLayoutId id="2147484516" r:id="rId8"/>
    <p:sldLayoutId id="2147484517" r:id="rId9"/>
    <p:sldLayoutId id="2147484518" r:id="rId10"/>
    <p:sldLayoutId id="2147484519" r:id="rId11"/>
    <p:sldLayoutId id="2147484520" r:id="rId12"/>
    <p:sldLayoutId id="2147484521" r:id="rId13"/>
    <p:sldLayoutId id="2147484522" r:id="rId14"/>
    <p:sldLayoutId id="2147484523" r:id="rId15"/>
    <p:sldLayoutId id="2147484524" r:id="rId16"/>
    <p:sldLayoutId id="2147484525" r:id="rId17"/>
    <p:sldLayoutId id="2147484526" r:id="rId18"/>
    <p:sldLayoutId id="2147484527" r:id="rId19"/>
    <p:sldLayoutId id="2147484528" r:id="rId20"/>
    <p:sldLayoutId id="2147484529" r:id="rId21"/>
    <p:sldLayoutId id="2147484530" r:id="rId22"/>
    <p:sldLayoutId id="2147484531" r:id="rId23"/>
    <p:sldLayoutId id="2147484532" r:id="rId24"/>
  </p:sldLayoutIdLst>
  <p:transition>
    <p:fade/>
  </p:transition>
  <p:txStyles>
    <p:titleStyle>
      <a:lvl1pPr algn="l" defTabSz="932563" rtl="0" eaLnBrk="1" latinLnBrk="0" hangingPunct="1">
        <a:lnSpc>
          <a:spcPct val="90000"/>
        </a:lnSpc>
        <a:spcBef>
          <a:spcPct val="0"/>
        </a:spcBef>
        <a:buNone/>
        <a:defRPr lang="en-US" sz="4799" b="0" kern="1200" cap="none" spc="-102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42834" marR="0" indent="-342834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999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84088" marR="0" indent="-241253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99946" marR="0" indent="-228557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28503" marR="0" indent="-228557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57058" marR="0" indent="-228557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4548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0830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112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3394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281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563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8844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126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408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7689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3970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253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55008" y="372394"/>
            <a:ext cx="10726460" cy="135195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55008" y="1861968"/>
            <a:ext cx="10726460" cy="443796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55008" y="6482889"/>
            <a:ext cx="2798207" cy="37239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24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DA57E08-95F6-4F6A-9D7E-039B075F4B1D}" type="datetimeFigureOut">
              <a:rPr lang="en-US" smtClean="0"/>
              <a:t>11/21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19583" y="6482889"/>
            <a:ext cx="4197310" cy="37239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24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83260" y="6482889"/>
            <a:ext cx="2798207" cy="37239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24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57CC5A6-7F3B-40DF-9864-2F2AC68AD92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754149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34" r:id="rId1"/>
    <p:sldLayoutId id="2147484535" r:id="rId2"/>
    <p:sldLayoutId id="2147484536" r:id="rId3"/>
    <p:sldLayoutId id="2147484537" r:id="rId4"/>
    <p:sldLayoutId id="2147484538" r:id="rId5"/>
    <p:sldLayoutId id="2147484539" r:id="rId6"/>
    <p:sldLayoutId id="2147484540" r:id="rId7"/>
    <p:sldLayoutId id="2147484541" r:id="rId8"/>
    <p:sldLayoutId id="2147484542" r:id="rId9"/>
    <p:sldLayoutId id="2147484543" r:id="rId10"/>
    <p:sldLayoutId id="2147484544" r:id="rId11"/>
  </p:sldLayoutIdLst>
  <p:txStyles>
    <p:titleStyle>
      <a:lvl1pPr algn="l" defTabSz="932597" rtl="0" eaLnBrk="1" latinLnBrk="0" hangingPunct="1">
        <a:lnSpc>
          <a:spcPct val="90000"/>
        </a:lnSpc>
        <a:spcBef>
          <a:spcPct val="0"/>
        </a:spcBef>
        <a:buNone/>
        <a:defRPr sz="4488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33149" indent="-233149" algn="l" defTabSz="932597" rtl="0" eaLnBrk="1" latinLnBrk="0" hangingPunct="1">
        <a:lnSpc>
          <a:spcPct val="90000"/>
        </a:lnSpc>
        <a:spcBef>
          <a:spcPts val="1020"/>
        </a:spcBef>
        <a:buFont typeface="Arial" panose="020B0604020202020204" pitchFamily="34" charset="0"/>
        <a:buChar char="•"/>
        <a:defRPr sz="2856" kern="1200">
          <a:solidFill>
            <a:schemeClr val="tx1"/>
          </a:solidFill>
          <a:latin typeface="+mn-lt"/>
          <a:ea typeface="+mn-ea"/>
          <a:cs typeface="+mn-cs"/>
        </a:defRPr>
      </a:lvl1pPr>
      <a:lvl2pPr marL="699447" indent="-233149" algn="l" defTabSz="932597" rtl="0" eaLnBrk="1" latinLnBrk="0" hangingPunct="1">
        <a:lnSpc>
          <a:spcPct val="90000"/>
        </a:lnSpc>
        <a:spcBef>
          <a:spcPts val="510"/>
        </a:spcBef>
        <a:buFont typeface="Arial" panose="020B0604020202020204" pitchFamily="34" charset="0"/>
        <a:buChar char="•"/>
        <a:defRPr sz="2448" kern="1200">
          <a:solidFill>
            <a:schemeClr val="tx1"/>
          </a:solidFill>
          <a:latin typeface="+mn-lt"/>
          <a:ea typeface="+mn-ea"/>
          <a:cs typeface="+mn-cs"/>
        </a:defRPr>
      </a:lvl2pPr>
      <a:lvl3pPr marL="1165746" indent="-233149" algn="l" defTabSz="932597" rtl="0" eaLnBrk="1" latinLnBrk="0" hangingPunct="1">
        <a:lnSpc>
          <a:spcPct val="90000"/>
        </a:lnSpc>
        <a:spcBef>
          <a:spcPts val="510"/>
        </a:spcBef>
        <a:buFont typeface="Arial" panose="020B0604020202020204" pitchFamily="34" charset="0"/>
        <a:buChar char="•"/>
        <a:defRPr sz="2040" kern="1200">
          <a:solidFill>
            <a:schemeClr val="tx1"/>
          </a:solidFill>
          <a:latin typeface="+mn-lt"/>
          <a:ea typeface="+mn-ea"/>
          <a:cs typeface="+mn-cs"/>
        </a:defRPr>
      </a:lvl3pPr>
      <a:lvl4pPr marL="1632044" indent="-233149" algn="l" defTabSz="932597" rtl="0" eaLnBrk="1" latinLnBrk="0" hangingPunct="1">
        <a:lnSpc>
          <a:spcPct val="90000"/>
        </a:lnSpc>
        <a:spcBef>
          <a:spcPts val="510"/>
        </a:spcBef>
        <a:buFont typeface="Arial" panose="020B0604020202020204" pitchFamily="34" charset="0"/>
        <a:buChar char="•"/>
        <a:defRPr sz="1836" kern="1200">
          <a:solidFill>
            <a:schemeClr val="tx1"/>
          </a:solidFill>
          <a:latin typeface="+mn-lt"/>
          <a:ea typeface="+mn-ea"/>
          <a:cs typeface="+mn-cs"/>
        </a:defRPr>
      </a:lvl4pPr>
      <a:lvl5pPr marL="2098342" indent="-233149" algn="l" defTabSz="932597" rtl="0" eaLnBrk="1" latinLnBrk="0" hangingPunct="1">
        <a:lnSpc>
          <a:spcPct val="90000"/>
        </a:lnSpc>
        <a:spcBef>
          <a:spcPts val="510"/>
        </a:spcBef>
        <a:buFont typeface="Arial" panose="020B0604020202020204" pitchFamily="34" charset="0"/>
        <a:buChar char="•"/>
        <a:defRPr sz="1836" kern="1200">
          <a:solidFill>
            <a:schemeClr val="tx1"/>
          </a:solidFill>
          <a:latin typeface="+mn-lt"/>
          <a:ea typeface="+mn-ea"/>
          <a:cs typeface="+mn-cs"/>
        </a:defRPr>
      </a:lvl5pPr>
      <a:lvl6pPr marL="2564641" indent="-233149" algn="l" defTabSz="932597" rtl="0" eaLnBrk="1" latinLnBrk="0" hangingPunct="1">
        <a:lnSpc>
          <a:spcPct val="90000"/>
        </a:lnSpc>
        <a:spcBef>
          <a:spcPts val="510"/>
        </a:spcBef>
        <a:buFont typeface="Arial" panose="020B0604020202020204" pitchFamily="34" charset="0"/>
        <a:buChar char="•"/>
        <a:defRPr sz="1836" kern="1200">
          <a:solidFill>
            <a:schemeClr val="tx1"/>
          </a:solidFill>
          <a:latin typeface="+mn-lt"/>
          <a:ea typeface="+mn-ea"/>
          <a:cs typeface="+mn-cs"/>
        </a:defRPr>
      </a:lvl6pPr>
      <a:lvl7pPr marL="3030939" indent="-233149" algn="l" defTabSz="932597" rtl="0" eaLnBrk="1" latinLnBrk="0" hangingPunct="1">
        <a:lnSpc>
          <a:spcPct val="90000"/>
        </a:lnSpc>
        <a:spcBef>
          <a:spcPts val="510"/>
        </a:spcBef>
        <a:buFont typeface="Arial" panose="020B0604020202020204" pitchFamily="34" charset="0"/>
        <a:buChar char="•"/>
        <a:defRPr sz="1836" kern="1200">
          <a:solidFill>
            <a:schemeClr val="tx1"/>
          </a:solidFill>
          <a:latin typeface="+mn-lt"/>
          <a:ea typeface="+mn-ea"/>
          <a:cs typeface="+mn-cs"/>
        </a:defRPr>
      </a:lvl7pPr>
      <a:lvl8pPr marL="3497237" indent="-233149" algn="l" defTabSz="932597" rtl="0" eaLnBrk="1" latinLnBrk="0" hangingPunct="1">
        <a:lnSpc>
          <a:spcPct val="90000"/>
        </a:lnSpc>
        <a:spcBef>
          <a:spcPts val="510"/>
        </a:spcBef>
        <a:buFont typeface="Arial" panose="020B0604020202020204" pitchFamily="34" charset="0"/>
        <a:buChar char="•"/>
        <a:defRPr sz="1836" kern="1200">
          <a:solidFill>
            <a:schemeClr val="tx1"/>
          </a:solidFill>
          <a:latin typeface="+mn-lt"/>
          <a:ea typeface="+mn-ea"/>
          <a:cs typeface="+mn-cs"/>
        </a:defRPr>
      </a:lvl8pPr>
      <a:lvl9pPr marL="3963535" indent="-233149" algn="l" defTabSz="932597" rtl="0" eaLnBrk="1" latinLnBrk="0" hangingPunct="1">
        <a:lnSpc>
          <a:spcPct val="90000"/>
        </a:lnSpc>
        <a:spcBef>
          <a:spcPts val="510"/>
        </a:spcBef>
        <a:buFont typeface="Arial" panose="020B0604020202020204" pitchFamily="34" charset="0"/>
        <a:buChar char="•"/>
        <a:defRPr sz="183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597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1pPr>
      <a:lvl2pPr marL="466298" algn="l" defTabSz="932597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2pPr>
      <a:lvl3pPr marL="932597" algn="l" defTabSz="932597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3pPr>
      <a:lvl4pPr marL="1398895" algn="l" defTabSz="932597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4pPr>
      <a:lvl5pPr marL="1865193" algn="l" defTabSz="932597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5pPr>
      <a:lvl6pPr marL="2331491" algn="l" defTabSz="932597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6pPr>
      <a:lvl7pPr marL="2797790" algn="l" defTabSz="932597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7pPr>
      <a:lvl8pPr marL="3264088" algn="l" defTabSz="932597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8pPr>
      <a:lvl9pPr marL="3730386" algn="l" defTabSz="932597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3.xml"/><Relationship Id="rId5" Type="http://schemas.openxmlformats.org/officeDocument/2006/relationships/image" Target="../media/image22.png"/><Relationship Id="rId4" Type="http://schemas.openxmlformats.org/officeDocument/2006/relationships/image" Target="../media/image21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38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8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38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38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38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38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38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38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38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38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4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38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38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38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38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38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jp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138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138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138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138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138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8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138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138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138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138.xml"/><Relationship Id="rId4" Type="http://schemas.openxmlformats.org/officeDocument/2006/relationships/image" Target="../media/image45.pn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138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138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138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138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138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138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38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138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138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138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138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138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notesSlide" Target="../notesSlides/notesSlide44.xml"/><Relationship Id="rId1" Type="http://schemas.openxmlformats.org/officeDocument/2006/relationships/slideLayout" Target="../slideLayouts/slideLayout138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Azure/dcos-engine" TargetMode="External"/><Relationship Id="rId2" Type="http://schemas.openxmlformats.org/officeDocument/2006/relationships/notesSlide" Target="../notesSlides/notesSlide45.xml"/><Relationship Id="rId1" Type="http://schemas.openxmlformats.org/officeDocument/2006/relationships/slideLayout" Target="../slideLayouts/slideLayout138.xml"/><Relationship Id="rId6" Type="http://schemas.openxmlformats.org/officeDocument/2006/relationships/hyperlink" Target="https://github.com/apache/mesos" TargetMode="External"/><Relationship Id="rId5" Type="http://schemas.openxmlformats.org/officeDocument/2006/relationships/hyperlink" Target="https://github.com/dcos/dcos-windows" TargetMode="External"/><Relationship Id="rId4" Type="http://schemas.openxmlformats.org/officeDocument/2006/relationships/hyperlink" Target="https://github.com/dcos/dcos" TargetMode="Externa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2" Type="http://schemas.openxmlformats.org/officeDocument/2006/relationships/notesSlide" Target="../notesSlides/notesSlide46.xml"/><Relationship Id="rId1" Type="http://schemas.openxmlformats.org/officeDocument/2006/relationships/slideLayout" Target="../slideLayouts/slideLayout138.xml"/><Relationship Id="rId5" Type="http://schemas.openxmlformats.org/officeDocument/2006/relationships/hyperlink" Target="https://github.com/Azure/dcos-engine/issues" TargetMode="External"/><Relationship Id="rId4" Type="http://schemas.openxmlformats.org/officeDocument/2006/relationships/hyperlink" Target="https://dcosdemo.blob.core.windows.net/slides/DCOS-Talk.pptx" TargetMode="Externa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38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38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Azure/acs-engine/" TargetMode="Externa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38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58.xml"/><Relationship Id="rId4" Type="http://schemas.openxmlformats.org/officeDocument/2006/relationships/image" Target="../media/image25.JP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3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 bwMode="auto">
          <a:xfrm>
            <a:off x="0" y="0"/>
            <a:ext cx="12436475" cy="5859462"/>
          </a:xfrm>
          <a:prstGeom prst="rect">
            <a:avLst/>
          </a:prstGeom>
          <a:solidFill>
            <a:srgbClr val="0070C0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74702" y="906462"/>
            <a:ext cx="9143936" cy="2601969"/>
          </a:xfrm>
        </p:spPr>
        <p:txBody>
          <a:bodyPr/>
          <a:lstStyle/>
          <a:p>
            <a:r>
              <a:rPr lang="en-US" dirty="0"/>
              <a:t>Deploying and managing DC/OS clusters in </a:t>
            </a:r>
            <a:br>
              <a:rPr lang="en-US" dirty="0"/>
            </a:br>
            <a:r>
              <a:rPr lang="en-US" dirty="0"/>
              <a:t>Microsoft Azure.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74702" y="4278741"/>
            <a:ext cx="9296335" cy="1263430"/>
          </a:xfrm>
        </p:spPr>
        <p:txBody>
          <a:bodyPr/>
          <a:lstStyle/>
          <a:p>
            <a:r>
              <a:rPr lang="en-US" dirty="0"/>
              <a:t>Dmitry Shmulevich</a:t>
            </a:r>
          </a:p>
          <a:p>
            <a:endParaRPr lang="en-US" dirty="0"/>
          </a:p>
          <a:p>
            <a:endParaRPr lang="en-US" dirty="0"/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973200" y="124983"/>
            <a:ext cx="1848279" cy="1848279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3961B672-1835-49DB-9E35-076C9C9E7CE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085107" y="2201862"/>
            <a:ext cx="1624464" cy="1848279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EC15ED35-9517-4B35-9BED-A8BA5C77B3E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612473" y="4278741"/>
            <a:ext cx="2557607" cy="14614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49591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accent1">
                <a:lumMod val="5000"/>
                <a:lumOff val="95000"/>
              </a:schemeClr>
            </a:gs>
            <a:gs pos="74000">
              <a:schemeClr val="accent1">
                <a:lumMod val="45000"/>
                <a:lumOff val="55000"/>
              </a:schemeClr>
            </a:gs>
            <a:gs pos="83000">
              <a:schemeClr val="accent1">
                <a:lumMod val="45000"/>
                <a:lumOff val="55000"/>
              </a:schemeClr>
            </a:gs>
            <a:gs pos="100000">
              <a:schemeClr val="accent1">
                <a:lumMod val="30000"/>
                <a:lumOff val="70000"/>
              </a:schemeClr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2">
            <a:extLst>
              <a:ext uri="{FF2B5EF4-FFF2-40B4-BE49-F238E27FC236}">
                <a16:creationId xmlns:a16="http://schemas.microsoft.com/office/drawing/2014/main" id="{39401DC4-CCCE-40F2-8324-9EF5CB65F81B}"/>
              </a:ext>
            </a:extLst>
          </p:cNvPr>
          <p:cNvSpPr txBox="1">
            <a:spLocks/>
          </p:cNvSpPr>
          <p:nvPr/>
        </p:nvSpPr>
        <p:spPr>
          <a:xfrm>
            <a:off x="274637" y="220662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>
            <a:lvl1pPr algn="l" defTabSz="9325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799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ctr"/>
            <a:r>
              <a:rPr lang="en-US" sz="3200" b="1" dirty="0">
                <a:latin typeface="Verdana" panose="020B0604030504040204" pitchFamily="34" charset="0"/>
                <a:ea typeface="Verdana" panose="020B0604030504040204" pitchFamily="34" charset="0"/>
                <a:cs typeface="Aharoni" panose="02010803020104030203" pitchFamily="2" charset="-79"/>
              </a:rPr>
              <a:t>Running DC/OS on Windows</a:t>
            </a:r>
          </a:p>
        </p:txBody>
      </p:sp>
      <p:sp>
        <p:nvSpPr>
          <p:cNvPr id="11" name="Text Placeholder 1">
            <a:extLst>
              <a:ext uri="{FF2B5EF4-FFF2-40B4-BE49-F238E27FC236}">
                <a16:creationId xmlns:a16="http://schemas.microsoft.com/office/drawing/2014/main" id="{739FA442-6287-43D4-A71E-B422CB3BDCE6}"/>
              </a:ext>
            </a:extLst>
          </p:cNvPr>
          <p:cNvSpPr txBox="1">
            <a:spLocks/>
          </p:cNvSpPr>
          <p:nvPr/>
        </p:nvSpPr>
        <p:spPr>
          <a:xfrm>
            <a:off x="611963" y="1058861"/>
            <a:ext cx="11016474" cy="571500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32742" rtl="0" eaLnBrk="1" latinLnBrk="0" hangingPunct="1">
              <a:defRPr sz="1224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66371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742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99113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65484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31856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98226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64597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30969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40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rPr>
              <a:t>Ported DCOS services</a:t>
            </a:r>
          </a:p>
          <a:p>
            <a:pPr marL="923571" lvl="1" indent="-457200">
              <a:buFont typeface="Arial" panose="020B0604020202020204" pitchFamily="34" charset="0"/>
              <a:buChar char="•"/>
            </a:pPr>
            <a:r>
              <a:rPr lang="en-US" sz="200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rPr>
              <a:t>Mesos</a:t>
            </a:r>
          </a:p>
          <a:p>
            <a:pPr marL="923571" lvl="1" indent="-457200">
              <a:buFont typeface="Arial" panose="020B0604020202020204" pitchFamily="34" charset="0"/>
              <a:buChar char="•"/>
            </a:pPr>
            <a:r>
              <a:rPr lang="en-US" sz="200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rPr>
              <a:t>DCOS-Diagnostics</a:t>
            </a:r>
          </a:p>
          <a:p>
            <a:pPr marL="923571" lvl="1" indent="-457200">
              <a:buFont typeface="Arial" panose="020B0604020202020204" pitchFamily="34" charset="0"/>
              <a:buChar char="•"/>
            </a:pPr>
            <a:r>
              <a:rPr lang="en-US" sz="200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rPr>
              <a:t>DCOS-Metrics</a:t>
            </a:r>
          </a:p>
          <a:p>
            <a:pPr marL="923571" lvl="1" indent="-457200">
              <a:buFont typeface="Arial" panose="020B0604020202020204" pitchFamily="34" charset="0"/>
              <a:buChar char="•"/>
            </a:pPr>
            <a:r>
              <a:rPr lang="en-US" sz="200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rPr>
              <a:t>DCOS-Net</a:t>
            </a:r>
          </a:p>
          <a:p>
            <a:pPr marL="923571" lvl="1" indent="-457200">
              <a:buFont typeface="Arial" panose="020B0604020202020204" pitchFamily="34" charset="0"/>
              <a:buChar char="•"/>
            </a:pPr>
            <a:r>
              <a:rPr lang="en-US" sz="2000" dirty="0" err="1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rPr>
              <a:t>Adminrouter</a:t>
            </a:r>
            <a:r>
              <a:rPr lang="en-US" sz="200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rPr>
              <a:t> (using Apache HTTP server instead of </a:t>
            </a:r>
            <a:r>
              <a:rPr lang="en-US" sz="2000" dirty="0" err="1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rPr>
              <a:t>nginx</a:t>
            </a:r>
            <a:r>
              <a:rPr lang="en-US" sz="200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rPr>
              <a:t>)</a:t>
            </a:r>
          </a:p>
          <a:p>
            <a:endParaRPr lang="en-US" sz="2400" dirty="0">
              <a:gradFill>
                <a:gsLst>
                  <a:gs pos="1250">
                    <a:schemeClr val="tx1"/>
                  </a:gs>
                  <a:gs pos="100000">
                    <a:schemeClr val="tx1"/>
                  </a:gs>
                </a:gsLst>
                <a:lin ang="5400000" scaled="0"/>
              </a:gradFill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40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rPr>
              <a:t>Ported </a:t>
            </a:r>
            <a:r>
              <a:rPr lang="en-US" sz="2400" dirty="0" err="1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rPr>
              <a:t>systemd</a:t>
            </a:r>
            <a:r>
              <a:rPr lang="en-US" sz="240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rPr>
              <a:t> for service support on Windows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US" sz="2400" dirty="0">
              <a:gradFill>
                <a:gsLst>
                  <a:gs pos="1250">
                    <a:schemeClr val="tx1"/>
                  </a:gs>
                  <a:gs pos="100000">
                    <a:schemeClr val="tx1"/>
                  </a:gs>
                </a:gsLst>
                <a:lin ang="5400000" scaled="0"/>
              </a:gradFill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40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rPr>
              <a:t>Ported </a:t>
            </a:r>
            <a:r>
              <a:rPr lang="en-US" sz="2400" dirty="0" err="1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rPr>
              <a:t>Pkgpanda</a:t>
            </a:r>
            <a:r>
              <a:rPr lang="en-US" sz="240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rPr>
              <a:t> build and deploy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US" sz="2400" dirty="0">
              <a:gradFill>
                <a:gsLst>
                  <a:gs pos="1250">
                    <a:schemeClr val="tx1"/>
                  </a:gs>
                  <a:gs pos="100000">
                    <a:schemeClr val="tx1"/>
                  </a:gs>
                </a:gsLst>
                <a:lin ang="5400000" scaled="0"/>
              </a:gradFill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40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rPr>
              <a:t>Introduced Windows bootstrap node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US" sz="2400" dirty="0">
              <a:gradFill>
                <a:gsLst>
                  <a:gs pos="1250">
                    <a:schemeClr val="tx1"/>
                  </a:gs>
                  <a:gs pos="100000">
                    <a:schemeClr val="tx1"/>
                  </a:gs>
                </a:gsLst>
                <a:lin ang="5400000" scaled="0"/>
              </a:gradFill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40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rPr>
              <a:t>Added support for in-place upgrade of Windows nodes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US" sz="2400" dirty="0">
              <a:gradFill>
                <a:gsLst>
                  <a:gs pos="1250">
                    <a:schemeClr val="tx1"/>
                  </a:gs>
                  <a:gs pos="100000">
                    <a:schemeClr val="tx1"/>
                  </a:gs>
                </a:gsLst>
                <a:lin ang="5400000" scaled="0"/>
              </a:gradFill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40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rPr>
              <a:t>Implemented end-to-end CI/CD infrastructure for test, build, and validation</a:t>
            </a:r>
          </a:p>
        </p:txBody>
      </p:sp>
    </p:spTree>
    <p:extLst>
      <p:ext uri="{BB962C8B-B14F-4D97-AF65-F5344CB8AC3E}">
        <p14:creationId xmlns:p14="http://schemas.microsoft.com/office/powerpoint/2010/main" val="3542753250"/>
      </p:ext>
    </p:extLst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accent1">
                <a:lumMod val="5000"/>
                <a:lumOff val="95000"/>
              </a:schemeClr>
            </a:gs>
            <a:gs pos="74000">
              <a:schemeClr val="accent1">
                <a:lumMod val="45000"/>
                <a:lumOff val="55000"/>
              </a:schemeClr>
            </a:gs>
            <a:gs pos="83000">
              <a:schemeClr val="accent1">
                <a:lumMod val="45000"/>
                <a:lumOff val="55000"/>
              </a:schemeClr>
            </a:gs>
            <a:gs pos="100000">
              <a:schemeClr val="accent1">
                <a:lumMod val="30000"/>
                <a:lumOff val="70000"/>
              </a:schemeClr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376857E4-C337-43C8-8EE9-C21C0B2674F4}"/>
              </a:ext>
            </a:extLst>
          </p:cNvPr>
          <p:cNvGrpSpPr/>
          <p:nvPr/>
        </p:nvGrpSpPr>
        <p:grpSpPr>
          <a:xfrm>
            <a:off x="605900" y="218030"/>
            <a:ext cx="11424002" cy="6421940"/>
            <a:chOff x="671803" y="316791"/>
            <a:chExt cx="11424002" cy="6421940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BCA7B469-A344-41C2-8119-48C84331D2CA}"/>
                </a:ext>
              </a:extLst>
            </p:cNvPr>
            <p:cNvSpPr/>
            <p:nvPr/>
          </p:nvSpPr>
          <p:spPr>
            <a:xfrm>
              <a:off x="677008" y="1291484"/>
              <a:ext cx="8934660" cy="5063221"/>
            </a:xfrm>
            <a:prstGeom prst="rect">
              <a:avLst/>
            </a:prstGeom>
            <a:solidFill>
              <a:schemeClr val="bg1"/>
            </a:solidFill>
            <a:ln>
              <a:prstDash val="dash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176B90F0-1030-4C57-9AD1-EF583AB7E711}"/>
                </a:ext>
              </a:extLst>
            </p:cNvPr>
            <p:cNvSpPr/>
            <p:nvPr/>
          </p:nvSpPr>
          <p:spPr>
            <a:xfrm>
              <a:off x="8029110" y="4548155"/>
              <a:ext cx="1272660" cy="821470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8BCD6175-1F27-4157-AC5E-164907ABB0DD}"/>
                </a:ext>
              </a:extLst>
            </p:cNvPr>
            <p:cNvSpPr/>
            <p:nvPr/>
          </p:nvSpPr>
          <p:spPr>
            <a:xfrm>
              <a:off x="7957745" y="4461071"/>
              <a:ext cx="1272660" cy="821470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F34DDA66-C91D-48B6-B429-0FB57426E693}"/>
                </a:ext>
              </a:extLst>
            </p:cNvPr>
            <p:cNvSpPr/>
            <p:nvPr/>
          </p:nvSpPr>
          <p:spPr>
            <a:xfrm>
              <a:off x="1076489" y="4402029"/>
              <a:ext cx="6717128" cy="1906943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CD779BBB-BBA2-43E7-B22D-D7C59BDF5A51}"/>
                </a:ext>
              </a:extLst>
            </p:cNvPr>
            <p:cNvSpPr/>
            <p:nvPr/>
          </p:nvSpPr>
          <p:spPr>
            <a:xfrm>
              <a:off x="1024594" y="4229740"/>
              <a:ext cx="6720254" cy="2020142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B84EF747-0280-4FE8-AD93-E9C52C382520}"/>
                </a:ext>
              </a:extLst>
            </p:cNvPr>
            <p:cNvSpPr/>
            <p:nvPr/>
          </p:nvSpPr>
          <p:spPr>
            <a:xfrm>
              <a:off x="1252152" y="1494881"/>
              <a:ext cx="6457339" cy="2417037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r>
                <a:rPr lang="en-US" dirty="0">
                  <a:solidFill>
                    <a:schemeClr val="tx1"/>
                  </a:solidFill>
                </a:rPr>
                <a:t>DCOS Master nodes</a:t>
              </a: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05A5D74B-841D-4AD1-8319-C7F12B2F3AD3}"/>
                </a:ext>
              </a:extLst>
            </p:cNvPr>
            <p:cNvSpPr/>
            <p:nvPr/>
          </p:nvSpPr>
          <p:spPr>
            <a:xfrm>
              <a:off x="1328014" y="1419879"/>
              <a:ext cx="6294218" cy="2445234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r>
                <a:rPr lang="en-US" dirty="0">
                  <a:solidFill>
                    <a:schemeClr val="tx1"/>
                  </a:solidFill>
                </a:rPr>
                <a:t>DCOS Master nodes</a:t>
              </a: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E5E3A87B-2B3C-4572-87D0-1CCBA44D8BDB}"/>
                </a:ext>
              </a:extLst>
            </p:cNvPr>
            <p:cNvSpPr/>
            <p:nvPr/>
          </p:nvSpPr>
          <p:spPr>
            <a:xfrm>
              <a:off x="838069" y="1336963"/>
              <a:ext cx="6713622" cy="2438767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r>
                <a:rPr lang="en-US" dirty="0">
                  <a:solidFill>
                    <a:schemeClr val="tx1"/>
                  </a:solidFill>
                </a:rPr>
                <a:t>DC/OS Linux Master node </a:t>
              </a: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A1733337-602C-404B-AC44-5BE25DA21F05}"/>
                </a:ext>
              </a:extLst>
            </p:cNvPr>
            <p:cNvSpPr/>
            <p:nvPr/>
          </p:nvSpPr>
          <p:spPr>
            <a:xfrm>
              <a:off x="825542" y="4004652"/>
              <a:ext cx="6862551" cy="2184582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r>
                <a:rPr lang="en-US" dirty="0">
                  <a:solidFill>
                    <a:schemeClr val="tx1"/>
                  </a:solidFill>
                </a:rPr>
                <a:t>DC/OS Windows Agent node</a:t>
              </a: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0E05CA3B-154B-4F15-8957-D62336743708}"/>
                </a:ext>
              </a:extLst>
            </p:cNvPr>
            <p:cNvSpPr/>
            <p:nvPr/>
          </p:nvSpPr>
          <p:spPr>
            <a:xfrm>
              <a:off x="7886386" y="4383319"/>
              <a:ext cx="1272660" cy="821470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/>
              <a:r>
                <a:rPr lang="en-US" sz="1400" dirty="0">
                  <a:solidFill>
                    <a:schemeClr val="tx1"/>
                  </a:solidFill>
                </a:rPr>
                <a:t>DC/OS Linux Agent node</a:t>
              </a: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81DD7324-7DDF-4A26-A31F-8A66BFE03CD0}"/>
                </a:ext>
              </a:extLst>
            </p:cNvPr>
            <p:cNvSpPr/>
            <p:nvPr/>
          </p:nvSpPr>
          <p:spPr>
            <a:xfrm>
              <a:off x="2311060" y="4447401"/>
              <a:ext cx="2973199" cy="197198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dirty="0">
                  <a:solidFill>
                    <a:schemeClr val="tx1"/>
                  </a:solidFill>
                </a:rPr>
                <a:t>Admin Router</a:t>
              </a: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3BE62FE2-74B7-4E95-BBE6-7D6BA7264181}"/>
                </a:ext>
              </a:extLst>
            </p:cNvPr>
            <p:cNvSpPr/>
            <p:nvPr/>
          </p:nvSpPr>
          <p:spPr>
            <a:xfrm>
              <a:off x="1328015" y="2018136"/>
              <a:ext cx="2747456" cy="706127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r>
                <a:rPr lang="en-US" sz="1100" dirty="0">
                  <a:solidFill>
                    <a:schemeClr val="tx1"/>
                  </a:solidFill>
                </a:rPr>
                <a:t>Cluster management</a:t>
              </a: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0AA5B60D-9CAC-4763-A0A2-09B0253BA6BE}"/>
                </a:ext>
              </a:extLst>
            </p:cNvPr>
            <p:cNvSpPr/>
            <p:nvPr/>
          </p:nvSpPr>
          <p:spPr>
            <a:xfrm>
              <a:off x="1461098" y="2310287"/>
              <a:ext cx="1187213" cy="329995"/>
            </a:xfrm>
            <a:prstGeom prst="rect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dirty="0">
                  <a:solidFill>
                    <a:schemeClr val="tx1"/>
                  </a:solidFill>
                </a:rPr>
                <a:t>Mesos Master</a:t>
              </a: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32DD327C-EE3C-4BF0-8645-BC4E1F016DF7}"/>
                </a:ext>
              </a:extLst>
            </p:cNvPr>
            <p:cNvSpPr/>
            <p:nvPr/>
          </p:nvSpPr>
          <p:spPr>
            <a:xfrm>
              <a:off x="2803104" y="2333774"/>
              <a:ext cx="1187213" cy="317711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dirty="0">
                  <a:solidFill>
                    <a:schemeClr val="tx1"/>
                  </a:solidFill>
                </a:rPr>
                <a:t>Exhibitor &amp;</a:t>
              </a:r>
            </a:p>
            <a:p>
              <a:pPr algn="ctr"/>
              <a:r>
                <a:rPr lang="en-US" sz="1200" dirty="0" err="1">
                  <a:solidFill>
                    <a:schemeClr val="tx1"/>
                  </a:solidFill>
                </a:rPr>
                <a:t>ZooKeeper</a:t>
              </a:r>
              <a:endParaRPr lang="en-US" sz="1200" dirty="0">
                <a:solidFill>
                  <a:schemeClr val="tx1"/>
                </a:solidFill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4E74BD59-7FB5-46A2-A710-DD716C81937B}"/>
                </a:ext>
              </a:extLst>
            </p:cNvPr>
            <p:cNvSpPr/>
            <p:nvPr/>
          </p:nvSpPr>
          <p:spPr>
            <a:xfrm>
              <a:off x="1328015" y="2803492"/>
              <a:ext cx="2747456" cy="864610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r>
                <a:rPr lang="en-US" sz="1100" dirty="0">
                  <a:solidFill>
                    <a:schemeClr val="tx1"/>
                  </a:solidFill>
                </a:rPr>
                <a:t>Container Orchestration</a:t>
              </a: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70D5A8B2-2A77-40B0-9E42-FC912A699CD5}"/>
                </a:ext>
              </a:extLst>
            </p:cNvPr>
            <p:cNvSpPr/>
            <p:nvPr/>
          </p:nvSpPr>
          <p:spPr>
            <a:xfrm>
              <a:off x="1471073" y="3061752"/>
              <a:ext cx="1187213" cy="464763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r>
                <a:rPr lang="en-US" sz="1200" dirty="0">
                  <a:solidFill>
                    <a:schemeClr val="tx1"/>
                  </a:solidFill>
                </a:rPr>
                <a:t>Marathon</a:t>
              </a: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0E077FD9-59A9-4D44-9649-15C6B3C6F8E4}"/>
                </a:ext>
              </a:extLst>
            </p:cNvPr>
            <p:cNvSpPr/>
            <p:nvPr/>
          </p:nvSpPr>
          <p:spPr>
            <a:xfrm>
              <a:off x="2791130" y="3102263"/>
              <a:ext cx="1187213" cy="367637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dirty="0">
                  <a:solidFill>
                    <a:schemeClr val="tx1"/>
                  </a:solidFill>
                </a:rPr>
                <a:t>Metronome</a:t>
              </a:r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172D3B44-D1B9-4634-AD50-215CEDB95E3A}"/>
                </a:ext>
              </a:extLst>
            </p:cNvPr>
            <p:cNvSpPr/>
            <p:nvPr/>
          </p:nvSpPr>
          <p:spPr>
            <a:xfrm>
              <a:off x="2333817" y="4953078"/>
              <a:ext cx="1303403" cy="251711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dirty="0">
                  <a:solidFill>
                    <a:schemeClr val="tx1"/>
                  </a:solidFill>
                </a:rPr>
                <a:t>Diagnostics</a:t>
              </a:r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8470FA08-806E-4F0E-A2B9-32539ACF2D46}"/>
                </a:ext>
              </a:extLst>
            </p:cNvPr>
            <p:cNvSpPr/>
            <p:nvPr/>
          </p:nvSpPr>
          <p:spPr>
            <a:xfrm>
              <a:off x="3837768" y="4957935"/>
              <a:ext cx="1265062" cy="240741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dirty="0">
                  <a:solidFill>
                    <a:schemeClr val="tx1"/>
                  </a:solidFill>
                </a:rPr>
                <a:t>Metrics</a:t>
              </a:r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5031BDFD-E5B3-4094-A9C9-7CA4301DECD4}"/>
                </a:ext>
              </a:extLst>
            </p:cNvPr>
            <p:cNvSpPr/>
            <p:nvPr/>
          </p:nvSpPr>
          <p:spPr>
            <a:xfrm>
              <a:off x="1328014" y="1673409"/>
              <a:ext cx="5679616" cy="250092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dirty="0">
                  <a:solidFill>
                    <a:schemeClr val="tx1"/>
                  </a:solidFill>
                </a:rPr>
                <a:t>Admin Router</a:t>
              </a:r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AE182008-5C67-4A25-BAEC-98F07DE141DF}"/>
                </a:ext>
              </a:extLst>
            </p:cNvPr>
            <p:cNvSpPr/>
            <p:nvPr/>
          </p:nvSpPr>
          <p:spPr>
            <a:xfrm>
              <a:off x="4260174" y="2027688"/>
              <a:ext cx="2747456" cy="702219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r>
                <a:rPr lang="en-US" sz="1100" dirty="0">
                  <a:solidFill>
                    <a:schemeClr val="tx1"/>
                  </a:solidFill>
                </a:rPr>
                <a:t>Networking</a:t>
              </a: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5CD0C324-3229-4A9D-9493-D3DF302B85C2}"/>
                </a:ext>
              </a:extLst>
            </p:cNvPr>
            <p:cNvSpPr/>
            <p:nvPr/>
          </p:nvSpPr>
          <p:spPr>
            <a:xfrm>
              <a:off x="4393257" y="2362270"/>
              <a:ext cx="1187213" cy="289215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dirty="0">
                  <a:solidFill>
                    <a:schemeClr val="tx1"/>
                  </a:solidFill>
                </a:rPr>
                <a:t>DCOS-NET</a:t>
              </a: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ECCEB6E2-0F17-4CF3-87FA-D927B0FA6EFC}"/>
                </a:ext>
              </a:extLst>
            </p:cNvPr>
            <p:cNvSpPr/>
            <p:nvPr/>
          </p:nvSpPr>
          <p:spPr>
            <a:xfrm>
              <a:off x="5665624" y="2367307"/>
              <a:ext cx="1187213" cy="272975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dirty="0">
                  <a:solidFill>
                    <a:schemeClr val="tx1"/>
                  </a:solidFill>
                </a:rPr>
                <a:t>Mesos DNS</a:t>
              </a: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7649AF6E-968C-4D82-97E8-01EA68EAF154}"/>
                </a:ext>
              </a:extLst>
            </p:cNvPr>
            <p:cNvSpPr/>
            <p:nvPr/>
          </p:nvSpPr>
          <p:spPr>
            <a:xfrm>
              <a:off x="4222367" y="2851987"/>
              <a:ext cx="1931609" cy="628012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dirty="0">
                  <a:solidFill>
                    <a:schemeClr val="tx1"/>
                  </a:solidFill>
                </a:rPr>
                <a:t>Other components</a:t>
              </a:r>
            </a:p>
          </p:txBody>
        </p:sp>
        <p:cxnSp>
          <p:nvCxnSpPr>
            <p:cNvPr id="29" name="Connector: Elbow 28">
              <a:extLst>
                <a:ext uri="{FF2B5EF4-FFF2-40B4-BE49-F238E27FC236}">
                  <a16:creationId xmlns:a16="http://schemas.microsoft.com/office/drawing/2014/main" id="{B37B1B6B-31DB-4BA6-B71E-E9818D29A56A}"/>
                </a:ext>
              </a:extLst>
            </p:cNvPr>
            <p:cNvCxnSpPr>
              <a:cxnSpLocks/>
              <a:stCxn id="15" idx="2"/>
              <a:endCxn id="22" idx="0"/>
            </p:cNvCxnSpPr>
            <p:nvPr/>
          </p:nvCxnSpPr>
          <p:spPr>
            <a:xfrm rot="5400000">
              <a:off x="3237351" y="4392768"/>
              <a:ext cx="308479" cy="812141"/>
            </a:xfrm>
            <a:prstGeom prst="bentConnector3">
              <a:avLst>
                <a:gd name="adj1" fmla="val 50000"/>
              </a:avLst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Connector: Elbow 29">
              <a:extLst>
                <a:ext uri="{FF2B5EF4-FFF2-40B4-BE49-F238E27FC236}">
                  <a16:creationId xmlns:a16="http://schemas.microsoft.com/office/drawing/2014/main" id="{8F2CE196-1AB7-4CC6-A4AB-780FCC1CF6A6}"/>
                </a:ext>
              </a:extLst>
            </p:cNvPr>
            <p:cNvCxnSpPr>
              <a:cxnSpLocks/>
            </p:cNvCxnSpPr>
            <p:nvPr/>
          </p:nvCxnSpPr>
          <p:spPr>
            <a:xfrm>
              <a:off x="3779072" y="4798739"/>
              <a:ext cx="691227" cy="167434"/>
            </a:xfrm>
            <a:prstGeom prst="bentConnector2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EF1D4764-C558-402E-B3FB-C03A01143FC6}"/>
                </a:ext>
              </a:extLst>
            </p:cNvPr>
            <p:cNvSpPr txBox="1"/>
            <p:nvPr/>
          </p:nvSpPr>
          <p:spPr>
            <a:xfrm>
              <a:off x="8270207" y="1362014"/>
              <a:ext cx="851515" cy="6463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/>
                <a:t>DC/OS </a:t>
              </a:r>
            </a:p>
            <a:p>
              <a:r>
                <a:rPr lang="en-US" dirty="0"/>
                <a:t>cluster</a:t>
              </a:r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6EDBC5ED-9B05-4E73-9DAA-B0195EBB9F36}"/>
                </a:ext>
              </a:extLst>
            </p:cNvPr>
            <p:cNvSpPr/>
            <p:nvPr/>
          </p:nvSpPr>
          <p:spPr>
            <a:xfrm>
              <a:off x="4318821" y="2900402"/>
              <a:ext cx="1931609" cy="628012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dirty="0">
                  <a:solidFill>
                    <a:schemeClr val="tx1"/>
                  </a:solidFill>
                </a:rPr>
                <a:t>Other components</a:t>
              </a:r>
            </a:p>
          </p:txBody>
        </p: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A77D8E5E-D599-4880-B74A-0BFD921FA09C}"/>
                </a:ext>
              </a:extLst>
            </p:cNvPr>
            <p:cNvSpPr/>
            <p:nvPr/>
          </p:nvSpPr>
          <p:spPr>
            <a:xfrm>
              <a:off x="4399979" y="2969498"/>
              <a:ext cx="1931609" cy="628012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dirty="0">
                  <a:solidFill>
                    <a:schemeClr val="tx1"/>
                  </a:solidFill>
                </a:rPr>
                <a:t>Other components</a:t>
              </a:r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F5296957-AE9D-46B4-A106-35E107270A7F}"/>
                </a:ext>
              </a:extLst>
            </p:cNvPr>
            <p:cNvSpPr/>
            <p:nvPr/>
          </p:nvSpPr>
          <p:spPr>
            <a:xfrm>
              <a:off x="671803" y="316791"/>
              <a:ext cx="9061168" cy="579891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r>
                <a:rPr lang="en-US" sz="1200" dirty="0">
                  <a:solidFill>
                    <a:schemeClr val="tx1"/>
                  </a:solidFill>
                </a:rPr>
                <a:t>Continuous Integration &amp; Deployment for Hybrid DC/OS cluster </a:t>
              </a:r>
            </a:p>
          </p:txBody>
        </p:sp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91D7D647-DD5F-4524-8714-ABA0645688E8}"/>
                </a:ext>
              </a:extLst>
            </p:cNvPr>
            <p:cNvSpPr/>
            <p:nvPr/>
          </p:nvSpPr>
          <p:spPr>
            <a:xfrm>
              <a:off x="9847161" y="5204789"/>
              <a:ext cx="2248644" cy="1143773"/>
            </a:xfrm>
            <a:prstGeom prst="rect">
              <a:avLst/>
            </a:prstGeom>
            <a:solidFill>
              <a:schemeClr val="bg1"/>
            </a:solidFill>
            <a:ln w="3175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en-US" sz="1200" b="1" dirty="0">
                <a:solidFill>
                  <a:schemeClr val="tx1"/>
                </a:solidFill>
              </a:endParaRPr>
            </a:p>
          </p:txBody>
        </p:sp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C452A5ED-14B9-42F5-8627-26074D58CEAF}"/>
                </a:ext>
              </a:extLst>
            </p:cNvPr>
            <p:cNvSpPr/>
            <p:nvPr/>
          </p:nvSpPr>
          <p:spPr>
            <a:xfrm>
              <a:off x="10978392" y="5752073"/>
              <a:ext cx="751286" cy="434750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3175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800" dirty="0">
                  <a:solidFill>
                    <a:schemeClr val="tx1"/>
                  </a:solidFill>
                </a:rPr>
                <a:t>Developed by Microsoft</a:t>
              </a:r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B50A378A-9E95-451C-93B9-6F2BA67686A3}"/>
                </a:ext>
              </a:extLst>
            </p:cNvPr>
            <p:cNvSpPr/>
            <p:nvPr/>
          </p:nvSpPr>
          <p:spPr>
            <a:xfrm>
              <a:off x="3864137" y="5326268"/>
              <a:ext cx="1212323" cy="240741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dirty="0">
                  <a:solidFill>
                    <a:schemeClr val="tx1"/>
                  </a:solidFill>
                </a:rPr>
                <a:t>Mesos Fetcher</a:t>
              </a:r>
            </a:p>
          </p:txBody>
        </p:sp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20C9BCB2-CB99-4CE1-BFDE-888D5EA51B93}"/>
                </a:ext>
              </a:extLst>
            </p:cNvPr>
            <p:cNvSpPr/>
            <p:nvPr/>
          </p:nvSpPr>
          <p:spPr>
            <a:xfrm>
              <a:off x="5509430" y="4402029"/>
              <a:ext cx="2082953" cy="1683017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r>
                <a:rPr lang="en-US" sz="1200" dirty="0">
                  <a:solidFill>
                    <a:schemeClr val="tx1"/>
                  </a:solidFill>
                </a:rPr>
                <a:t>Mesos-Agent</a:t>
              </a:r>
            </a:p>
          </p:txBody>
        </p:sp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00791D02-FC20-4DD6-BD35-13B036C476FB}"/>
                </a:ext>
              </a:extLst>
            </p:cNvPr>
            <p:cNvSpPr/>
            <p:nvPr/>
          </p:nvSpPr>
          <p:spPr>
            <a:xfrm>
              <a:off x="5627506" y="4695225"/>
              <a:ext cx="844523" cy="358421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3175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dirty="0" err="1">
                  <a:solidFill>
                    <a:schemeClr val="tx1"/>
                  </a:solidFill>
                </a:rPr>
                <a:t>Auth</a:t>
              </a:r>
              <a:endParaRPr lang="en-US" sz="1000" dirty="0">
                <a:solidFill>
                  <a:schemeClr val="tx1"/>
                </a:solidFill>
              </a:endParaRPr>
            </a:p>
          </p:txBody>
        </p:sp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03773944-8DD5-46D9-BC82-FA498DF17FB1}"/>
                </a:ext>
              </a:extLst>
            </p:cNvPr>
            <p:cNvSpPr/>
            <p:nvPr/>
          </p:nvSpPr>
          <p:spPr>
            <a:xfrm>
              <a:off x="954069" y="4765235"/>
              <a:ext cx="1265062" cy="660424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r>
                <a:rPr lang="en-US" sz="1200" dirty="0">
                  <a:solidFill>
                    <a:schemeClr val="tx1"/>
                  </a:solidFill>
                </a:rPr>
                <a:t>Networking</a:t>
              </a:r>
            </a:p>
          </p:txBody>
        </p:sp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E11A8F6F-E37F-450D-9D5F-216A7974BDA0}"/>
                </a:ext>
              </a:extLst>
            </p:cNvPr>
            <p:cNvSpPr/>
            <p:nvPr/>
          </p:nvSpPr>
          <p:spPr>
            <a:xfrm>
              <a:off x="1315626" y="5082794"/>
              <a:ext cx="472714" cy="242570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800" dirty="0">
                  <a:solidFill>
                    <a:schemeClr val="tx1"/>
                  </a:solidFill>
                </a:rPr>
                <a:t>DNS</a:t>
              </a:r>
            </a:p>
          </p:txBody>
        </p:sp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CB829A36-D94F-4E54-8C03-F028A6CB5A16}"/>
                </a:ext>
              </a:extLst>
            </p:cNvPr>
            <p:cNvSpPr/>
            <p:nvPr/>
          </p:nvSpPr>
          <p:spPr>
            <a:xfrm>
              <a:off x="677008" y="6532241"/>
              <a:ext cx="8934660" cy="206490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dirty="0">
                  <a:solidFill>
                    <a:schemeClr val="tx1"/>
                  </a:solidFill>
                </a:rPr>
                <a:t>Azure infrastructure</a:t>
              </a:r>
            </a:p>
          </p:txBody>
        </p:sp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8AFFE536-1E25-4F18-BCA2-6768FED228E7}"/>
                </a:ext>
              </a:extLst>
            </p:cNvPr>
            <p:cNvSpPr/>
            <p:nvPr/>
          </p:nvSpPr>
          <p:spPr>
            <a:xfrm>
              <a:off x="6607852" y="4695224"/>
              <a:ext cx="869846" cy="358421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3175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Logging</a:t>
              </a:r>
            </a:p>
          </p:txBody>
        </p:sp>
        <p:cxnSp>
          <p:nvCxnSpPr>
            <p:cNvPr id="45" name="Connector: Elbow 44">
              <a:extLst>
                <a:ext uri="{FF2B5EF4-FFF2-40B4-BE49-F238E27FC236}">
                  <a16:creationId xmlns:a16="http://schemas.microsoft.com/office/drawing/2014/main" id="{164AC47F-63ED-4C4F-BEA2-525FDF6F773A}"/>
                </a:ext>
              </a:extLst>
            </p:cNvPr>
            <p:cNvCxnSpPr>
              <a:cxnSpLocks/>
              <a:stCxn id="49" idx="1"/>
              <a:endCxn id="43" idx="1"/>
            </p:cNvCxnSpPr>
            <p:nvPr/>
          </p:nvCxnSpPr>
          <p:spPr>
            <a:xfrm rot="10800000" flipV="1">
              <a:off x="677009" y="723932"/>
              <a:ext cx="306195" cy="5911553"/>
            </a:xfrm>
            <a:prstGeom prst="bentConnector3">
              <a:avLst>
                <a:gd name="adj1" fmla="val 174658"/>
              </a:avLst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7" name="Rectangle 46">
              <a:extLst>
                <a:ext uri="{FF2B5EF4-FFF2-40B4-BE49-F238E27FC236}">
                  <a16:creationId xmlns:a16="http://schemas.microsoft.com/office/drawing/2014/main" id="{6C2265EA-B65C-40DC-AC25-A5258A6C3C38}"/>
                </a:ext>
              </a:extLst>
            </p:cNvPr>
            <p:cNvSpPr/>
            <p:nvPr/>
          </p:nvSpPr>
          <p:spPr>
            <a:xfrm>
              <a:off x="4596737" y="584629"/>
              <a:ext cx="2359174" cy="259265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3175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50" dirty="0">
                  <a:solidFill>
                    <a:schemeClr val="tx1"/>
                  </a:solidFill>
                </a:rPr>
                <a:t>Mesos Unit tests/Integration tests</a:t>
              </a:r>
            </a:p>
          </p:txBody>
        </p:sp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EDD150C0-28AC-4569-A1F1-5F8588BD04ED}"/>
                </a:ext>
              </a:extLst>
            </p:cNvPr>
            <p:cNvSpPr/>
            <p:nvPr/>
          </p:nvSpPr>
          <p:spPr>
            <a:xfrm>
              <a:off x="5627506" y="5133519"/>
              <a:ext cx="865660" cy="433490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3175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Docker task Health check</a:t>
              </a:r>
            </a:p>
          </p:txBody>
        </p:sp>
        <p:sp>
          <p:nvSpPr>
            <p:cNvPr id="49" name="Rectangle 48">
              <a:extLst>
                <a:ext uri="{FF2B5EF4-FFF2-40B4-BE49-F238E27FC236}">
                  <a16:creationId xmlns:a16="http://schemas.microsoft.com/office/drawing/2014/main" id="{EFB5DAFB-E309-4656-97EF-CB9AF9DE5977}"/>
                </a:ext>
              </a:extLst>
            </p:cNvPr>
            <p:cNvSpPr/>
            <p:nvPr/>
          </p:nvSpPr>
          <p:spPr>
            <a:xfrm>
              <a:off x="983203" y="594300"/>
              <a:ext cx="1528472" cy="259266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3175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50" dirty="0">
                  <a:solidFill>
                    <a:schemeClr val="tx1"/>
                  </a:solidFill>
                </a:rPr>
                <a:t>Cluster Scaling/Upgrade test</a:t>
              </a:r>
            </a:p>
          </p:txBody>
        </p:sp>
        <p:sp>
          <p:nvSpPr>
            <p:cNvPr id="50" name="Rectangle 49">
              <a:extLst>
                <a:ext uri="{FF2B5EF4-FFF2-40B4-BE49-F238E27FC236}">
                  <a16:creationId xmlns:a16="http://schemas.microsoft.com/office/drawing/2014/main" id="{6EF70719-A8BA-4993-8923-D1253E0BCFFD}"/>
                </a:ext>
              </a:extLst>
            </p:cNvPr>
            <p:cNvSpPr/>
            <p:nvPr/>
          </p:nvSpPr>
          <p:spPr>
            <a:xfrm>
              <a:off x="2614783" y="594547"/>
              <a:ext cx="1911169" cy="241745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3175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50" dirty="0">
                  <a:solidFill>
                    <a:schemeClr val="tx1"/>
                  </a:solidFill>
                </a:rPr>
                <a:t>End-to-end scenario tests</a:t>
              </a:r>
            </a:p>
          </p:txBody>
        </p:sp>
        <p:sp>
          <p:nvSpPr>
            <p:cNvPr id="51" name="Rectangle 50">
              <a:extLst>
                <a:ext uri="{FF2B5EF4-FFF2-40B4-BE49-F238E27FC236}">
                  <a16:creationId xmlns:a16="http://schemas.microsoft.com/office/drawing/2014/main" id="{BC894863-9B99-4CE1-8CA8-213E422947D9}"/>
                </a:ext>
              </a:extLst>
            </p:cNvPr>
            <p:cNvSpPr/>
            <p:nvPr/>
          </p:nvSpPr>
          <p:spPr>
            <a:xfrm>
              <a:off x="953229" y="5529062"/>
              <a:ext cx="2696809" cy="588991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 dirty="0">
                  <a:solidFill>
                    <a:schemeClr val="tx1"/>
                  </a:solidFill>
                </a:rPr>
                <a:t>Custom extension via Pre-provision </a:t>
              </a:r>
            </a:p>
            <a:p>
              <a:pPr algn="ctr"/>
              <a:endParaRPr lang="en-US" sz="1100" dirty="0">
                <a:solidFill>
                  <a:schemeClr val="tx1"/>
                </a:solidFill>
              </a:endParaRPr>
            </a:p>
          </p:txBody>
        </p:sp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A2B8710D-7609-4955-8ACC-AC72C4579BB1}"/>
                </a:ext>
              </a:extLst>
            </p:cNvPr>
            <p:cNvSpPr/>
            <p:nvPr/>
          </p:nvSpPr>
          <p:spPr>
            <a:xfrm>
              <a:off x="7963805" y="3046747"/>
              <a:ext cx="1300640" cy="736685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r>
                <a:rPr lang="en-US" sz="1050" dirty="0">
                  <a:solidFill>
                    <a:schemeClr val="tx1"/>
                  </a:solidFill>
                </a:rPr>
                <a:t>Windows Bootstrap node</a:t>
              </a:r>
            </a:p>
          </p:txBody>
        </p:sp>
        <p:sp>
          <p:nvSpPr>
            <p:cNvPr id="53" name="Rectangle 52">
              <a:extLst>
                <a:ext uri="{FF2B5EF4-FFF2-40B4-BE49-F238E27FC236}">
                  <a16:creationId xmlns:a16="http://schemas.microsoft.com/office/drawing/2014/main" id="{5101958B-4ABD-43B4-A4C6-771C0F9845AA}"/>
                </a:ext>
              </a:extLst>
            </p:cNvPr>
            <p:cNvSpPr/>
            <p:nvPr/>
          </p:nvSpPr>
          <p:spPr>
            <a:xfrm>
              <a:off x="8167234" y="3455086"/>
              <a:ext cx="974715" cy="256566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50" dirty="0" err="1">
                  <a:solidFill>
                    <a:schemeClr val="tx1"/>
                  </a:solidFill>
                </a:rPr>
                <a:t>PkgPanda</a:t>
              </a:r>
              <a:endParaRPr lang="en-US" sz="1050" dirty="0">
                <a:solidFill>
                  <a:schemeClr val="tx1"/>
                </a:solidFill>
              </a:endParaRPr>
            </a:p>
          </p:txBody>
        </p:sp>
        <p:sp>
          <p:nvSpPr>
            <p:cNvPr id="54" name="Rectangle 53">
              <a:extLst>
                <a:ext uri="{FF2B5EF4-FFF2-40B4-BE49-F238E27FC236}">
                  <a16:creationId xmlns:a16="http://schemas.microsoft.com/office/drawing/2014/main" id="{E9879FAA-5797-4876-A574-12D6F6076077}"/>
                </a:ext>
              </a:extLst>
            </p:cNvPr>
            <p:cNvSpPr/>
            <p:nvPr/>
          </p:nvSpPr>
          <p:spPr>
            <a:xfrm>
              <a:off x="953229" y="4390986"/>
              <a:ext cx="1265062" cy="310244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dirty="0" err="1">
                  <a:solidFill>
                    <a:schemeClr val="tx1"/>
                  </a:solidFill>
                </a:rPr>
                <a:t>PkgPanda</a:t>
              </a:r>
              <a:endParaRPr lang="en-US" sz="1200" dirty="0">
                <a:solidFill>
                  <a:schemeClr val="tx1"/>
                </a:solidFill>
              </a:endParaRPr>
            </a:p>
          </p:txBody>
        </p:sp>
        <p:sp>
          <p:nvSpPr>
            <p:cNvPr id="56" name="Rectangle 55">
              <a:extLst>
                <a:ext uri="{FF2B5EF4-FFF2-40B4-BE49-F238E27FC236}">
                  <a16:creationId xmlns:a16="http://schemas.microsoft.com/office/drawing/2014/main" id="{6B9DEC66-E730-486E-AC3E-21687AD8D3B4}"/>
                </a:ext>
              </a:extLst>
            </p:cNvPr>
            <p:cNvSpPr/>
            <p:nvPr/>
          </p:nvSpPr>
          <p:spPr>
            <a:xfrm>
              <a:off x="7966008" y="2057216"/>
              <a:ext cx="1300639" cy="788023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r>
                <a:rPr lang="en-US" sz="1100" dirty="0">
                  <a:solidFill>
                    <a:schemeClr val="tx1"/>
                  </a:solidFill>
                </a:rPr>
                <a:t>Linux Bootstrap node</a:t>
              </a:r>
            </a:p>
          </p:txBody>
        </p:sp>
        <p:sp>
          <p:nvSpPr>
            <p:cNvPr id="57" name="Rectangle 56">
              <a:extLst>
                <a:ext uri="{FF2B5EF4-FFF2-40B4-BE49-F238E27FC236}">
                  <a16:creationId xmlns:a16="http://schemas.microsoft.com/office/drawing/2014/main" id="{1EF13C86-6CAE-40AA-B831-10B2D97C2DEC}"/>
                </a:ext>
              </a:extLst>
            </p:cNvPr>
            <p:cNvSpPr/>
            <p:nvPr/>
          </p:nvSpPr>
          <p:spPr>
            <a:xfrm>
              <a:off x="8083180" y="2467762"/>
              <a:ext cx="974715" cy="299055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 dirty="0" err="1">
                  <a:solidFill>
                    <a:schemeClr val="tx1"/>
                  </a:solidFill>
                </a:rPr>
                <a:t>PkgPanda</a:t>
              </a:r>
              <a:endParaRPr lang="en-US" sz="1100" dirty="0">
                <a:solidFill>
                  <a:schemeClr val="tx1"/>
                </a:solidFill>
              </a:endParaRPr>
            </a:p>
          </p:txBody>
        </p:sp>
        <p:sp>
          <p:nvSpPr>
            <p:cNvPr id="58" name="Rectangle 57">
              <a:extLst>
                <a:ext uri="{FF2B5EF4-FFF2-40B4-BE49-F238E27FC236}">
                  <a16:creationId xmlns:a16="http://schemas.microsoft.com/office/drawing/2014/main" id="{5BC66C63-7AD4-4F01-991B-41EB0336A3F8}"/>
                </a:ext>
              </a:extLst>
            </p:cNvPr>
            <p:cNvSpPr/>
            <p:nvPr/>
          </p:nvSpPr>
          <p:spPr>
            <a:xfrm>
              <a:off x="6458850" y="2960690"/>
              <a:ext cx="773036" cy="607126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 dirty="0" err="1">
                  <a:solidFill>
                    <a:schemeClr val="tx1"/>
                  </a:solidFill>
                </a:rPr>
                <a:t>PkgPanda</a:t>
              </a:r>
              <a:endParaRPr lang="en-US" sz="1100" dirty="0">
                <a:solidFill>
                  <a:schemeClr val="tx1"/>
                </a:solidFill>
              </a:endParaRPr>
            </a:p>
          </p:txBody>
        </p:sp>
        <p:sp>
          <p:nvSpPr>
            <p:cNvPr id="59" name="Rectangle 58">
              <a:extLst>
                <a:ext uri="{FF2B5EF4-FFF2-40B4-BE49-F238E27FC236}">
                  <a16:creationId xmlns:a16="http://schemas.microsoft.com/office/drawing/2014/main" id="{E5BF48BE-5150-44F5-98BF-D9E449744772}"/>
                </a:ext>
              </a:extLst>
            </p:cNvPr>
            <p:cNvSpPr/>
            <p:nvPr/>
          </p:nvSpPr>
          <p:spPr>
            <a:xfrm>
              <a:off x="671804" y="949725"/>
              <a:ext cx="7893650" cy="244018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>
                  <a:solidFill>
                    <a:schemeClr val="tx1"/>
                  </a:solidFill>
                </a:rPr>
                <a:t>Deployment with </a:t>
              </a:r>
              <a:r>
                <a:rPr lang="en-US" sz="1400" dirty="0" err="1">
                  <a:solidFill>
                    <a:schemeClr val="tx1"/>
                  </a:solidFill>
                </a:rPr>
                <a:t>dcos</a:t>
              </a:r>
              <a:r>
                <a:rPr lang="en-US" sz="1400" dirty="0">
                  <a:solidFill>
                    <a:schemeClr val="tx1"/>
                  </a:solidFill>
                </a:rPr>
                <a:t>-engine</a:t>
              </a:r>
            </a:p>
          </p:txBody>
        </p:sp>
        <p:sp>
          <p:nvSpPr>
            <p:cNvPr id="62" name="Rectangle 61">
              <a:extLst>
                <a:ext uri="{FF2B5EF4-FFF2-40B4-BE49-F238E27FC236}">
                  <a16:creationId xmlns:a16="http://schemas.microsoft.com/office/drawing/2014/main" id="{096C0D1D-EDDF-43CD-A24B-541CC35DA44E}"/>
                </a:ext>
              </a:extLst>
            </p:cNvPr>
            <p:cNvSpPr/>
            <p:nvPr/>
          </p:nvSpPr>
          <p:spPr>
            <a:xfrm>
              <a:off x="10043540" y="5743539"/>
              <a:ext cx="751286" cy="389720"/>
            </a:xfrm>
            <a:prstGeom prst="rect">
              <a:avLst/>
            </a:prstGeom>
            <a:solidFill>
              <a:schemeClr val="bg1"/>
            </a:solidFill>
            <a:ln w="3175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800" dirty="0">
                  <a:solidFill>
                    <a:schemeClr val="tx1"/>
                  </a:solidFill>
                </a:rPr>
                <a:t>Existing Components</a:t>
              </a:r>
            </a:p>
          </p:txBody>
        </p:sp>
        <p:sp>
          <p:nvSpPr>
            <p:cNvPr id="63" name="Rectangle 62">
              <a:extLst>
                <a:ext uri="{FF2B5EF4-FFF2-40B4-BE49-F238E27FC236}">
                  <a16:creationId xmlns:a16="http://schemas.microsoft.com/office/drawing/2014/main" id="{285B33BE-E8DB-4D0B-B4BE-8F41E5747B2A}"/>
                </a:ext>
              </a:extLst>
            </p:cNvPr>
            <p:cNvSpPr/>
            <p:nvPr/>
          </p:nvSpPr>
          <p:spPr>
            <a:xfrm>
              <a:off x="5625810" y="5668407"/>
              <a:ext cx="1850192" cy="237084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Docker </a:t>
              </a:r>
              <a:r>
                <a:rPr lang="en-US" sz="1000" dirty="0" err="1">
                  <a:solidFill>
                    <a:schemeClr val="tx1"/>
                  </a:solidFill>
                </a:rPr>
                <a:t>Containerizer</a:t>
              </a:r>
              <a:endParaRPr lang="en-US" sz="1000" dirty="0">
                <a:solidFill>
                  <a:schemeClr val="tx1"/>
                </a:solidFill>
              </a:endParaRPr>
            </a:p>
          </p:txBody>
        </p:sp>
        <p:sp>
          <p:nvSpPr>
            <p:cNvPr id="64" name="Rectangle 63">
              <a:extLst>
                <a:ext uri="{FF2B5EF4-FFF2-40B4-BE49-F238E27FC236}">
                  <a16:creationId xmlns:a16="http://schemas.microsoft.com/office/drawing/2014/main" id="{F6E93BBE-B281-41E8-8FF8-386531786A2F}"/>
                </a:ext>
              </a:extLst>
            </p:cNvPr>
            <p:cNvSpPr/>
            <p:nvPr/>
          </p:nvSpPr>
          <p:spPr>
            <a:xfrm>
              <a:off x="6607852" y="5146424"/>
              <a:ext cx="914066" cy="412748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3175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900" dirty="0" err="1">
                  <a:solidFill>
                    <a:schemeClr val="tx1"/>
                  </a:solidFill>
                </a:rPr>
                <a:t>AsyncIO</a:t>
              </a:r>
              <a:r>
                <a:rPr lang="en-US" sz="900" dirty="0">
                  <a:solidFill>
                    <a:schemeClr val="tx1"/>
                  </a:solidFill>
                </a:rPr>
                <a:t> Library for </a:t>
              </a:r>
              <a:r>
                <a:rPr lang="en-US" sz="900" dirty="0" err="1">
                  <a:solidFill>
                    <a:schemeClr val="tx1"/>
                  </a:solidFill>
                </a:rPr>
                <a:t>LibProcess</a:t>
              </a:r>
              <a:endParaRPr lang="en-US" sz="900" dirty="0">
                <a:solidFill>
                  <a:schemeClr val="tx1"/>
                </a:solidFill>
              </a:endParaRPr>
            </a:p>
          </p:txBody>
        </p:sp>
        <p:sp>
          <p:nvSpPr>
            <p:cNvPr id="65" name="Rectangle 64">
              <a:extLst>
                <a:ext uri="{FF2B5EF4-FFF2-40B4-BE49-F238E27FC236}">
                  <a16:creationId xmlns:a16="http://schemas.microsoft.com/office/drawing/2014/main" id="{93056294-9DFA-474E-8E17-3534F3C0A9C8}"/>
                </a:ext>
              </a:extLst>
            </p:cNvPr>
            <p:cNvSpPr/>
            <p:nvPr/>
          </p:nvSpPr>
          <p:spPr>
            <a:xfrm>
              <a:off x="6987286" y="587829"/>
              <a:ext cx="1304304" cy="248464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3175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50" dirty="0">
                  <a:solidFill>
                    <a:schemeClr val="tx1"/>
                  </a:solidFill>
                </a:rPr>
                <a:t>Mesos Nightly Build </a:t>
              </a:r>
            </a:p>
          </p:txBody>
        </p:sp>
        <p:sp>
          <p:nvSpPr>
            <p:cNvPr id="66" name="Rectangle 65">
              <a:extLst>
                <a:ext uri="{FF2B5EF4-FFF2-40B4-BE49-F238E27FC236}">
                  <a16:creationId xmlns:a16="http://schemas.microsoft.com/office/drawing/2014/main" id="{E6BC08ED-D9AE-481A-9AAB-F923A27952E4}"/>
                </a:ext>
              </a:extLst>
            </p:cNvPr>
            <p:cNvSpPr/>
            <p:nvPr/>
          </p:nvSpPr>
          <p:spPr>
            <a:xfrm>
              <a:off x="8367970" y="414892"/>
              <a:ext cx="1267185" cy="413284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3175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DC/OS and Mesos upstream CICD integration</a:t>
              </a:r>
              <a:endParaRPr lang="en-US" sz="500" dirty="0">
                <a:solidFill>
                  <a:schemeClr val="tx1"/>
                </a:solidFill>
              </a:endParaRPr>
            </a:p>
          </p:txBody>
        </p:sp>
        <p:sp>
          <p:nvSpPr>
            <p:cNvPr id="68" name="TextBox 67">
              <a:extLst>
                <a:ext uri="{FF2B5EF4-FFF2-40B4-BE49-F238E27FC236}">
                  <a16:creationId xmlns:a16="http://schemas.microsoft.com/office/drawing/2014/main" id="{EEFEB8FC-54E3-458B-A857-DB0F8925E4CC}"/>
                </a:ext>
              </a:extLst>
            </p:cNvPr>
            <p:cNvSpPr txBox="1"/>
            <p:nvPr/>
          </p:nvSpPr>
          <p:spPr>
            <a:xfrm>
              <a:off x="9886865" y="5280091"/>
              <a:ext cx="633828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dirty="0"/>
                <a:t>Legend</a:t>
              </a:r>
            </a:p>
          </p:txBody>
        </p:sp>
      </p:grpSp>
      <p:sp>
        <p:nvSpPr>
          <p:cNvPr id="70" name="Rectangle 69">
            <a:extLst>
              <a:ext uri="{FF2B5EF4-FFF2-40B4-BE49-F238E27FC236}">
                <a16:creationId xmlns:a16="http://schemas.microsoft.com/office/drawing/2014/main" id="{4E24455D-AB5B-4D31-8DF0-6ADC6EBEE861}"/>
              </a:ext>
            </a:extLst>
          </p:cNvPr>
          <p:cNvSpPr/>
          <p:nvPr/>
        </p:nvSpPr>
        <p:spPr>
          <a:xfrm>
            <a:off x="3693280" y="5598632"/>
            <a:ext cx="1675813" cy="408403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</a:rPr>
              <a:t>Mesos Compressor/Decompressor</a:t>
            </a:r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D6FDDB94-F5BD-441B-B2A4-2301B81DF269}"/>
              </a:ext>
            </a:extLst>
          </p:cNvPr>
          <p:cNvSpPr/>
          <p:nvPr/>
        </p:nvSpPr>
        <p:spPr>
          <a:xfrm>
            <a:off x="1108055" y="5759066"/>
            <a:ext cx="640945" cy="20977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</a:rPr>
              <a:t>Aqua</a:t>
            </a: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3B7AB20D-642B-434B-A354-A5DB69ACA89B}"/>
              </a:ext>
            </a:extLst>
          </p:cNvPr>
          <p:cNvSpPr/>
          <p:nvPr/>
        </p:nvSpPr>
        <p:spPr>
          <a:xfrm>
            <a:off x="1816199" y="5759066"/>
            <a:ext cx="640945" cy="224123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 err="1">
                <a:solidFill>
                  <a:schemeClr val="tx1"/>
                </a:solidFill>
              </a:rPr>
              <a:t>Fluentd</a:t>
            </a:r>
            <a:endParaRPr lang="en-US" sz="900" dirty="0">
              <a:solidFill>
                <a:schemeClr val="tx1"/>
              </a:solidFill>
            </a:endParaRPr>
          </a:p>
        </p:txBody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id="{79FDE511-F317-4E71-86D4-4BE866849362}"/>
              </a:ext>
            </a:extLst>
          </p:cNvPr>
          <p:cNvSpPr/>
          <p:nvPr/>
        </p:nvSpPr>
        <p:spPr>
          <a:xfrm>
            <a:off x="2527167" y="5755474"/>
            <a:ext cx="960378" cy="224122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</a:rPr>
              <a:t>MSI Proxy</a:t>
            </a:r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2965D429-D909-4968-9E3E-9275BD6549E8}"/>
              </a:ext>
            </a:extLst>
          </p:cNvPr>
          <p:cNvSpPr/>
          <p:nvPr/>
        </p:nvSpPr>
        <p:spPr>
          <a:xfrm>
            <a:off x="7844094" y="5362559"/>
            <a:ext cx="1272660" cy="82147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Mesos </a:t>
            </a:r>
            <a:r>
              <a:rPr lang="en-US" sz="1400" dirty="0" err="1">
                <a:solidFill>
                  <a:schemeClr val="tx1"/>
                </a:solidFill>
              </a:rPr>
              <a:t>Cmake</a:t>
            </a:r>
            <a:r>
              <a:rPr lang="en-US" sz="1400" dirty="0">
                <a:solidFill>
                  <a:schemeClr val="tx1"/>
                </a:solidFill>
              </a:rPr>
              <a:t> Build System</a:t>
            </a:r>
          </a:p>
        </p:txBody>
      </p:sp>
    </p:spTree>
    <p:extLst>
      <p:ext uri="{BB962C8B-B14F-4D97-AF65-F5344CB8AC3E}">
        <p14:creationId xmlns:p14="http://schemas.microsoft.com/office/powerpoint/2010/main" val="53295272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accent1">
                <a:lumMod val="5000"/>
                <a:lumOff val="95000"/>
              </a:schemeClr>
            </a:gs>
            <a:gs pos="74000">
              <a:schemeClr val="accent1">
                <a:lumMod val="45000"/>
                <a:lumOff val="55000"/>
              </a:schemeClr>
            </a:gs>
            <a:gs pos="83000">
              <a:schemeClr val="accent1">
                <a:lumMod val="45000"/>
                <a:lumOff val="55000"/>
              </a:schemeClr>
            </a:gs>
            <a:gs pos="100000">
              <a:schemeClr val="accent1">
                <a:lumMod val="30000"/>
                <a:lumOff val="70000"/>
              </a:schemeClr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2">
            <a:extLst>
              <a:ext uri="{FF2B5EF4-FFF2-40B4-BE49-F238E27FC236}">
                <a16:creationId xmlns:a16="http://schemas.microsoft.com/office/drawing/2014/main" id="{39401DC4-CCCE-40F2-8324-9EF5CB65F81B}"/>
              </a:ext>
            </a:extLst>
          </p:cNvPr>
          <p:cNvSpPr txBox="1">
            <a:spLocks/>
          </p:cNvSpPr>
          <p:nvPr/>
        </p:nvSpPr>
        <p:spPr>
          <a:xfrm>
            <a:off x="274637" y="220662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>
            <a:lvl1pPr algn="l" defTabSz="9325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799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ctr"/>
            <a:r>
              <a:rPr lang="en-US" sz="3200" b="1" dirty="0">
                <a:latin typeface="Verdana" panose="020B0604030504040204" pitchFamily="34" charset="0"/>
                <a:ea typeface="Verdana" panose="020B0604030504040204" pitchFamily="34" charset="0"/>
                <a:cs typeface="Aharoni" panose="02010803020104030203" pitchFamily="2" charset="-79"/>
              </a:rPr>
              <a:t>Running DC/OS on Windows (cont.)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190712D2-9056-4F60-93EF-F6661CE4CC9D}"/>
              </a:ext>
            </a:extLst>
          </p:cNvPr>
          <p:cNvSpPr/>
          <p:nvPr/>
        </p:nvSpPr>
        <p:spPr bwMode="auto">
          <a:xfrm>
            <a:off x="1379537" y="1443037"/>
            <a:ext cx="9677400" cy="4187825"/>
          </a:xfrm>
          <a:prstGeom prst="rect">
            <a:avLst/>
          </a:prstGeom>
          <a:solidFill>
            <a:schemeClr val="tx1">
              <a:lumMod val="50000"/>
            </a:schemeClr>
          </a:solidFill>
          <a:ln w="12700">
            <a:solidFill>
              <a:srgbClr val="00B05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c:\&gt;dir c:\opt</a:t>
            </a:r>
          </a:p>
          <a:p>
            <a:r>
              <a:rPr lang="en-US" sz="1600" dirty="0">
                <a:solidFill>
                  <a:schemeClr val="bg2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10/01/2018  05:11 PM    &lt;DIR&gt;          mesosphere</a:t>
            </a:r>
          </a:p>
          <a:p>
            <a:r>
              <a:rPr lang="en-US" sz="1600" dirty="0">
                <a:solidFill>
                  <a:schemeClr val="bg2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 0 File(s)              0 bytes</a:t>
            </a:r>
          </a:p>
          <a:p>
            <a:r>
              <a:rPr lang="en-US" sz="1600" dirty="0">
                <a:solidFill>
                  <a:schemeClr val="bg2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 3 Dir(s)  18,193,772,544 bytes free</a:t>
            </a:r>
          </a:p>
          <a:p>
            <a:endParaRPr lang="en-US" sz="1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c:\&gt;dir c:\etc</a:t>
            </a:r>
          </a:p>
          <a:p>
            <a:r>
              <a:rPr lang="en-US" sz="1600" dirty="0">
                <a:solidFill>
                  <a:schemeClr val="bg2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10/01/2018  05:06 PM    &lt;DIR&gt;          mesosphere</a:t>
            </a:r>
          </a:p>
          <a:p>
            <a:r>
              <a:rPr lang="en-US" sz="1600" dirty="0">
                <a:solidFill>
                  <a:schemeClr val="bg2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10/01/2018  05:07 PM    &lt;DIR&gt;          </a:t>
            </a:r>
            <a:r>
              <a:rPr lang="en-US" sz="1600" dirty="0" err="1">
                <a:solidFill>
                  <a:schemeClr val="bg2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ystemd</a:t>
            </a:r>
            <a:endParaRPr lang="en-US" sz="1600" dirty="0">
              <a:solidFill>
                <a:schemeClr val="bg2">
                  <a:lumMod val="50000"/>
                </a:schemeClr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600" dirty="0">
                <a:solidFill>
                  <a:schemeClr val="bg2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 0 File(s)              0 bytes</a:t>
            </a:r>
          </a:p>
          <a:p>
            <a:r>
              <a:rPr lang="en-US" sz="1600" dirty="0">
                <a:solidFill>
                  <a:schemeClr val="bg2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 4 Dir(s)  18,193,727,488 bytes free</a:t>
            </a:r>
          </a:p>
          <a:p>
            <a:endParaRPr lang="en-US" sz="1600" dirty="0">
              <a:solidFill>
                <a:schemeClr val="bg2">
                  <a:lumMod val="50000"/>
                </a:schemeClr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c:\&gt;dir c:\var\lib</a:t>
            </a:r>
            <a:endParaRPr lang="en-US" sz="1600" dirty="0">
              <a:solidFill>
                <a:schemeClr val="bg2">
                  <a:lumMod val="50000"/>
                </a:schemeClr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600" dirty="0">
                <a:solidFill>
                  <a:schemeClr val="bg2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10/01/2018  05:13 PM    &lt;DIR&gt;          </a:t>
            </a:r>
            <a:r>
              <a:rPr lang="en-US" sz="1600" dirty="0" err="1">
                <a:solidFill>
                  <a:schemeClr val="bg2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cos</a:t>
            </a:r>
            <a:endParaRPr lang="en-US" sz="1600" dirty="0">
              <a:solidFill>
                <a:schemeClr val="bg2">
                  <a:lumMod val="50000"/>
                </a:schemeClr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600" dirty="0">
                <a:solidFill>
                  <a:schemeClr val="bg2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10/01/2018  05:12 PM    &lt;DIR&gt;          </a:t>
            </a:r>
            <a:r>
              <a:rPr lang="en-US" sz="1600" dirty="0" err="1">
                <a:solidFill>
                  <a:schemeClr val="bg2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sos</a:t>
            </a:r>
            <a:endParaRPr lang="en-US" sz="1600" dirty="0">
              <a:solidFill>
                <a:schemeClr val="bg2">
                  <a:lumMod val="50000"/>
                </a:schemeClr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600" dirty="0">
                <a:solidFill>
                  <a:schemeClr val="bg2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 0 File(s)              0 bytes</a:t>
            </a:r>
          </a:p>
          <a:p>
            <a:r>
              <a:rPr lang="en-US" sz="1600" dirty="0">
                <a:solidFill>
                  <a:schemeClr val="bg2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 4 Dir(s)  18,201,948,160 bytes free</a:t>
            </a:r>
          </a:p>
          <a:p>
            <a:endParaRPr lang="en-US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67578335"/>
      </p:ext>
    </p:extLst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accent1">
                <a:lumMod val="5000"/>
                <a:lumOff val="95000"/>
              </a:schemeClr>
            </a:gs>
            <a:gs pos="74000">
              <a:schemeClr val="accent1">
                <a:lumMod val="45000"/>
                <a:lumOff val="55000"/>
              </a:schemeClr>
            </a:gs>
            <a:gs pos="83000">
              <a:schemeClr val="accent1">
                <a:lumMod val="45000"/>
                <a:lumOff val="55000"/>
              </a:schemeClr>
            </a:gs>
            <a:gs pos="100000">
              <a:schemeClr val="accent1">
                <a:lumMod val="30000"/>
                <a:lumOff val="70000"/>
              </a:schemeClr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2">
            <a:extLst>
              <a:ext uri="{FF2B5EF4-FFF2-40B4-BE49-F238E27FC236}">
                <a16:creationId xmlns:a16="http://schemas.microsoft.com/office/drawing/2014/main" id="{39401DC4-CCCE-40F2-8324-9EF5CB65F81B}"/>
              </a:ext>
            </a:extLst>
          </p:cNvPr>
          <p:cNvSpPr txBox="1">
            <a:spLocks/>
          </p:cNvSpPr>
          <p:nvPr/>
        </p:nvSpPr>
        <p:spPr>
          <a:xfrm>
            <a:off x="274637" y="220662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>
            <a:lvl1pPr algn="l" defTabSz="9325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799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ctr"/>
            <a:r>
              <a:rPr lang="en-US" sz="3200" b="1" dirty="0">
                <a:latin typeface="Verdana" panose="020B0604030504040204" pitchFamily="34" charset="0"/>
                <a:ea typeface="Verdana" panose="020B0604030504040204" pitchFamily="34" charset="0"/>
                <a:cs typeface="Aharoni" panose="02010803020104030203" pitchFamily="2" charset="-79"/>
              </a:rPr>
              <a:t>Running DC/OS on Windows (cont.)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1B479C20-280C-414C-8B06-8A8298E1B7C8}"/>
              </a:ext>
            </a:extLst>
          </p:cNvPr>
          <p:cNvSpPr/>
          <p:nvPr/>
        </p:nvSpPr>
        <p:spPr bwMode="auto">
          <a:xfrm>
            <a:off x="1379537" y="1443037"/>
            <a:ext cx="9677400" cy="4187825"/>
          </a:xfrm>
          <a:prstGeom prst="rect">
            <a:avLst/>
          </a:prstGeom>
          <a:solidFill>
            <a:schemeClr val="tx1">
              <a:lumMod val="50000"/>
            </a:schemeClr>
          </a:solidFill>
          <a:ln w="12700">
            <a:solidFill>
              <a:srgbClr val="00B05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c:\&gt;dir c:\etc\systemd\system</a:t>
            </a:r>
          </a:p>
          <a:p>
            <a:r>
              <a:rPr lang="en-US" sz="1600" dirty="0">
                <a:solidFill>
                  <a:schemeClr val="bg2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09/19/2018  02:08 PM               597 </a:t>
            </a:r>
            <a:r>
              <a:rPr lang="en-US" sz="1600" dirty="0" err="1">
                <a:solidFill>
                  <a:schemeClr val="bg2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cos-adminrouter-agent.service</a:t>
            </a:r>
            <a:endParaRPr lang="en-US" sz="1600" dirty="0">
              <a:solidFill>
                <a:schemeClr val="bg2">
                  <a:lumMod val="50000"/>
                </a:schemeClr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600" dirty="0">
                <a:solidFill>
                  <a:schemeClr val="bg2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09/19/2018  02:08 PM               811 </a:t>
            </a:r>
            <a:r>
              <a:rPr lang="en-US" sz="1600" dirty="0" err="1">
                <a:solidFill>
                  <a:schemeClr val="bg2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cos-diagnostics.service</a:t>
            </a:r>
            <a:endParaRPr lang="en-US" sz="1600" dirty="0">
              <a:solidFill>
                <a:schemeClr val="bg2">
                  <a:lumMod val="50000"/>
                </a:schemeClr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600" dirty="0">
                <a:solidFill>
                  <a:schemeClr val="bg2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10/01/2018  05:07 PM               811 </a:t>
            </a:r>
            <a:r>
              <a:rPr lang="en-US" sz="1600" dirty="0" err="1">
                <a:solidFill>
                  <a:schemeClr val="bg2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cos-download.service</a:t>
            </a:r>
            <a:endParaRPr lang="en-US" sz="1600" dirty="0">
              <a:solidFill>
                <a:schemeClr val="bg2">
                  <a:lumMod val="50000"/>
                </a:schemeClr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600" dirty="0">
                <a:solidFill>
                  <a:schemeClr val="bg2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09/19/2018  02:08 PM               415 </a:t>
            </a:r>
            <a:r>
              <a:rPr lang="en-US" sz="1600" dirty="0" err="1">
                <a:solidFill>
                  <a:schemeClr val="bg2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cos</a:t>
            </a:r>
            <a:r>
              <a:rPr lang="en-US" sz="1600" dirty="0">
                <a:solidFill>
                  <a:schemeClr val="bg2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-gen-</a:t>
            </a:r>
            <a:r>
              <a:rPr lang="en-US" sz="1600" dirty="0" err="1">
                <a:solidFill>
                  <a:schemeClr val="bg2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solvconf.service</a:t>
            </a:r>
            <a:endParaRPr lang="en-US" sz="1600" dirty="0">
              <a:solidFill>
                <a:schemeClr val="bg2">
                  <a:lumMod val="50000"/>
                </a:schemeClr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600" dirty="0">
                <a:solidFill>
                  <a:schemeClr val="bg2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09/19/2018  02:08 PM               159 </a:t>
            </a:r>
            <a:r>
              <a:rPr lang="en-US" sz="1600" dirty="0" err="1">
                <a:solidFill>
                  <a:schemeClr val="bg2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cos</a:t>
            </a:r>
            <a:r>
              <a:rPr lang="en-US" sz="1600" dirty="0">
                <a:solidFill>
                  <a:schemeClr val="bg2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-gen-</a:t>
            </a:r>
            <a:r>
              <a:rPr lang="en-US" sz="1600" dirty="0" err="1">
                <a:solidFill>
                  <a:schemeClr val="bg2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solvconf.timer</a:t>
            </a:r>
            <a:endParaRPr lang="en-US" sz="1600" dirty="0">
              <a:solidFill>
                <a:schemeClr val="bg2">
                  <a:lumMod val="50000"/>
                </a:schemeClr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600" dirty="0">
                <a:solidFill>
                  <a:schemeClr val="bg2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09/19/2018  02:08 PM             1,026 </a:t>
            </a:r>
            <a:r>
              <a:rPr lang="en-US" sz="1600" dirty="0" err="1">
                <a:solidFill>
                  <a:schemeClr val="bg2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cos</a:t>
            </a:r>
            <a:r>
              <a:rPr lang="en-US" sz="1600" dirty="0">
                <a:solidFill>
                  <a:schemeClr val="bg2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-</a:t>
            </a:r>
            <a:r>
              <a:rPr lang="en-US" sz="1600" dirty="0" err="1">
                <a:solidFill>
                  <a:schemeClr val="bg2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sos</a:t>
            </a:r>
            <a:r>
              <a:rPr lang="en-US" sz="1600" dirty="0">
                <a:solidFill>
                  <a:schemeClr val="bg2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-slave-</a:t>
            </a:r>
            <a:r>
              <a:rPr lang="en-US" sz="1600" dirty="0" err="1">
                <a:solidFill>
                  <a:schemeClr val="bg2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ublic.service</a:t>
            </a:r>
            <a:endParaRPr lang="en-US" sz="1600" dirty="0">
              <a:solidFill>
                <a:schemeClr val="bg2">
                  <a:lumMod val="50000"/>
                </a:schemeClr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600" dirty="0">
                <a:solidFill>
                  <a:schemeClr val="bg2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09/19/2018  02:08 PM               842 </a:t>
            </a:r>
            <a:r>
              <a:rPr lang="en-US" sz="1600" dirty="0" err="1">
                <a:solidFill>
                  <a:schemeClr val="bg2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cos</a:t>
            </a:r>
            <a:r>
              <a:rPr lang="en-US" sz="1600" dirty="0">
                <a:solidFill>
                  <a:schemeClr val="bg2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-metrics-</a:t>
            </a:r>
            <a:r>
              <a:rPr lang="en-US" sz="1600" dirty="0" err="1">
                <a:solidFill>
                  <a:schemeClr val="bg2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gent.service</a:t>
            </a:r>
            <a:endParaRPr lang="en-US" sz="1600" dirty="0">
              <a:solidFill>
                <a:schemeClr val="bg2">
                  <a:lumMod val="50000"/>
                </a:schemeClr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600" dirty="0">
                <a:solidFill>
                  <a:schemeClr val="bg2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09/19/2018  02:08 PM               406 </a:t>
            </a:r>
            <a:r>
              <a:rPr lang="en-US" sz="1600" dirty="0" err="1">
                <a:solidFill>
                  <a:schemeClr val="bg2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cos</a:t>
            </a:r>
            <a:r>
              <a:rPr lang="en-US" sz="1600" dirty="0">
                <a:solidFill>
                  <a:schemeClr val="bg2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-net-</a:t>
            </a:r>
            <a:r>
              <a:rPr lang="en-US" sz="1600" dirty="0" err="1">
                <a:solidFill>
                  <a:schemeClr val="bg2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atchdog.service</a:t>
            </a:r>
            <a:endParaRPr lang="en-US" sz="1600" dirty="0">
              <a:solidFill>
                <a:schemeClr val="bg2">
                  <a:lumMod val="50000"/>
                </a:schemeClr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600" dirty="0">
                <a:solidFill>
                  <a:schemeClr val="bg2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09/19/2018  03:31 PM             1,788 </a:t>
            </a:r>
            <a:r>
              <a:rPr lang="en-US" sz="1600" dirty="0" err="1">
                <a:solidFill>
                  <a:schemeClr val="bg2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cos-net.service</a:t>
            </a:r>
            <a:endParaRPr lang="en-US" sz="1600" dirty="0">
              <a:solidFill>
                <a:schemeClr val="bg2">
                  <a:lumMod val="50000"/>
                </a:schemeClr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600" dirty="0">
                <a:solidFill>
                  <a:schemeClr val="bg2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09/19/2018  02:08 PM               512 </a:t>
            </a:r>
            <a:r>
              <a:rPr lang="en-US" sz="1600" dirty="0" err="1">
                <a:solidFill>
                  <a:schemeClr val="bg2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cos-portalocker.service</a:t>
            </a:r>
            <a:endParaRPr lang="en-US" sz="1600" dirty="0">
              <a:solidFill>
                <a:schemeClr val="bg2">
                  <a:lumMod val="50000"/>
                </a:schemeClr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600" dirty="0">
                <a:solidFill>
                  <a:schemeClr val="bg2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10/01/2018  05:07 PM               451 </a:t>
            </a:r>
            <a:r>
              <a:rPr lang="en-US" sz="1600" dirty="0" err="1">
                <a:solidFill>
                  <a:schemeClr val="bg2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cos-setup.service</a:t>
            </a:r>
            <a:endParaRPr lang="en-US" sz="1600" dirty="0">
              <a:solidFill>
                <a:schemeClr val="bg2">
                  <a:lumMod val="50000"/>
                </a:schemeClr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600" dirty="0">
                <a:solidFill>
                  <a:schemeClr val="bg2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10/01/2018  05:08 PM                37 </a:t>
            </a:r>
            <a:r>
              <a:rPr lang="en-US" sz="1600" dirty="0" err="1">
                <a:solidFill>
                  <a:schemeClr val="bg2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cos.target</a:t>
            </a:r>
            <a:endParaRPr lang="en-US" sz="1600" dirty="0">
              <a:solidFill>
                <a:schemeClr val="bg2">
                  <a:lumMod val="50000"/>
                </a:schemeClr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600" dirty="0">
                <a:solidFill>
                  <a:schemeClr val="bg2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10/01/2018  05:11 PM    &lt;DIR&gt;          </a:t>
            </a:r>
            <a:r>
              <a:rPr lang="en-US" sz="1600" dirty="0" err="1">
                <a:solidFill>
                  <a:schemeClr val="bg2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cos.target.wants</a:t>
            </a:r>
            <a:endParaRPr lang="en-US" sz="1600" dirty="0">
              <a:solidFill>
                <a:schemeClr val="bg2">
                  <a:lumMod val="50000"/>
                </a:schemeClr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600" dirty="0">
                <a:solidFill>
                  <a:schemeClr val="bg2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12 File(s)          7,855 bytes</a:t>
            </a:r>
          </a:p>
          <a:p>
            <a:r>
              <a:rPr lang="en-US" sz="1600" dirty="0">
                <a:solidFill>
                  <a:schemeClr val="bg2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 3 Dir(s)  18,201,063,424 bytes free</a:t>
            </a:r>
          </a:p>
          <a:p>
            <a:endParaRPr lang="en-US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53738181"/>
      </p:ext>
    </p:extLst>
  </p:cSld>
  <p:clrMapOvr>
    <a:masterClrMapping/>
  </p:clrMapOvr>
  <p:transition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accent1">
                <a:lumMod val="5000"/>
                <a:lumOff val="95000"/>
              </a:schemeClr>
            </a:gs>
            <a:gs pos="74000">
              <a:schemeClr val="accent1">
                <a:lumMod val="45000"/>
                <a:lumOff val="55000"/>
              </a:schemeClr>
            </a:gs>
            <a:gs pos="83000">
              <a:schemeClr val="accent1">
                <a:lumMod val="45000"/>
                <a:lumOff val="55000"/>
              </a:schemeClr>
            </a:gs>
            <a:gs pos="100000">
              <a:schemeClr val="accent1">
                <a:lumMod val="30000"/>
                <a:lumOff val="70000"/>
              </a:schemeClr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2">
            <a:extLst>
              <a:ext uri="{FF2B5EF4-FFF2-40B4-BE49-F238E27FC236}">
                <a16:creationId xmlns:a16="http://schemas.microsoft.com/office/drawing/2014/main" id="{39401DC4-CCCE-40F2-8324-9EF5CB65F81B}"/>
              </a:ext>
            </a:extLst>
          </p:cNvPr>
          <p:cNvSpPr txBox="1">
            <a:spLocks/>
          </p:cNvSpPr>
          <p:nvPr/>
        </p:nvSpPr>
        <p:spPr>
          <a:xfrm>
            <a:off x="274637" y="220662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>
            <a:lvl1pPr algn="l" defTabSz="9325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799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ctr"/>
            <a:r>
              <a:rPr lang="en-US" sz="3200" b="1" dirty="0">
                <a:latin typeface="Verdana" panose="020B0604030504040204" pitchFamily="34" charset="0"/>
                <a:ea typeface="Verdana" panose="020B0604030504040204" pitchFamily="34" charset="0"/>
                <a:cs typeface="Aharoni" panose="02010803020104030203" pitchFamily="2" charset="-79"/>
              </a:rPr>
              <a:t>Running DC/OS on Windows (cont.)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54C24E29-43CD-49C0-A377-E941A4E63495}"/>
              </a:ext>
            </a:extLst>
          </p:cNvPr>
          <p:cNvSpPr/>
          <p:nvPr/>
        </p:nvSpPr>
        <p:spPr bwMode="auto">
          <a:xfrm>
            <a:off x="1379537" y="1403349"/>
            <a:ext cx="9677400" cy="4187825"/>
          </a:xfrm>
          <a:prstGeom prst="rect">
            <a:avLst/>
          </a:prstGeom>
          <a:solidFill>
            <a:schemeClr val="tx1">
              <a:lumMod val="50000"/>
            </a:schemeClr>
          </a:solidFill>
          <a:ln w="12700">
            <a:solidFill>
              <a:srgbClr val="00B05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c:\&gt;c:\opt\mesosphere\bin\systemctl.exe list-units</a:t>
            </a:r>
          </a:p>
          <a:p>
            <a:r>
              <a:rPr lang="en-US" sz="1600" dirty="0" err="1">
                <a:solidFill>
                  <a:schemeClr val="bg2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cos-adminrouter-agent.service</a:t>
            </a:r>
            <a:endParaRPr lang="en-US" sz="1600" dirty="0">
              <a:solidFill>
                <a:schemeClr val="bg2">
                  <a:lumMod val="50000"/>
                </a:schemeClr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600" dirty="0" err="1">
                <a:solidFill>
                  <a:schemeClr val="bg2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cos-diagnostics.service</a:t>
            </a:r>
            <a:endParaRPr lang="en-US" sz="1600" dirty="0">
              <a:solidFill>
                <a:schemeClr val="bg2">
                  <a:lumMod val="50000"/>
                </a:schemeClr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600" dirty="0" err="1">
                <a:solidFill>
                  <a:schemeClr val="bg2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cos</a:t>
            </a:r>
            <a:r>
              <a:rPr lang="en-US" sz="1600" dirty="0">
                <a:solidFill>
                  <a:schemeClr val="bg2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-gen-</a:t>
            </a:r>
            <a:r>
              <a:rPr lang="en-US" sz="1600" dirty="0" err="1">
                <a:solidFill>
                  <a:schemeClr val="bg2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solvconf.service</a:t>
            </a:r>
            <a:endParaRPr lang="en-US" sz="1600" dirty="0">
              <a:solidFill>
                <a:schemeClr val="bg2">
                  <a:lumMod val="50000"/>
                </a:schemeClr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600" dirty="0" err="1">
                <a:solidFill>
                  <a:schemeClr val="bg2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cos</a:t>
            </a:r>
            <a:r>
              <a:rPr lang="en-US" sz="1600" dirty="0">
                <a:solidFill>
                  <a:schemeClr val="bg2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-gen-</a:t>
            </a:r>
            <a:r>
              <a:rPr lang="en-US" sz="1600" dirty="0" err="1">
                <a:solidFill>
                  <a:schemeClr val="bg2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solvconf.timer</a:t>
            </a:r>
            <a:endParaRPr lang="en-US" sz="1600" dirty="0">
              <a:solidFill>
                <a:schemeClr val="bg2">
                  <a:lumMod val="50000"/>
                </a:schemeClr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600" dirty="0" err="1">
                <a:solidFill>
                  <a:schemeClr val="bg2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cos</a:t>
            </a:r>
            <a:r>
              <a:rPr lang="en-US" sz="1600" dirty="0">
                <a:solidFill>
                  <a:schemeClr val="bg2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-</a:t>
            </a:r>
            <a:r>
              <a:rPr lang="en-US" sz="1600" dirty="0" err="1">
                <a:solidFill>
                  <a:schemeClr val="bg2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sos</a:t>
            </a:r>
            <a:r>
              <a:rPr lang="en-US" sz="1600" dirty="0">
                <a:solidFill>
                  <a:schemeClr val="bg2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-slave-</a:t>
            </a:r>
            <a:r>
              <a:rPr lang="en-US" sz="1600" dirty="0" err="1">
                <a:solidFill>
                  <a:schemeClr val="bg2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ublic.service</a:t>
            </a:r>
            <a:endParaRPr lang="en-US" sz="1600" dirty="0">
              <a:solidFill>
                <a:schemeClr val="bg2">
                  <a:lumMod val="50000"/>
                </a:schemeClr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600" dirty="0" err="1">
                <a:solidFill>
                  <a:schemeClr val="bg2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cos</a:t>
            </a:r>
            <a:r>
              <a:rPr lang="en-US" sz="1600" dirty="0">
                <a:solidFill>
                  <a:schemeClr val="bg2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-metrics-</a:t>
            </a:r>
            <a:r>
              <a:rPr lang="en-US" sz="1600" dirty="0" err="1">
                <a:solidFill>
                  <a:schemeClr val="bg2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gent.service</a:t>
            </a:r>
            <a:endParaRPr lang="en-US" sz="1600" dirty="0">
              <a:solidFill>
                <a:schemeClr val="bg2">
                  <a:lumMod val="50000"/>
                </a:schemeClr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600" dirty="0" err="1">
                <a:solidFill>
                  <a:schemeClr val="bg2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cos</a:t>
            </a:r>
            <a:r>
              <a:rPr lang="en-US" sz="1600" dirty="0">
                <a:solidFill>
                  <a:schemeClr val="bg2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-net-</a:t>
            </a:r>
            <a:r>
              <a:rPr lang="en-US" sz="1600" dirty="0" err="1">
                <a:solidFill>
                  <a:schemeClr val="bg2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atchdog.service</a:t>
            </a:r>
            <a:endParaRPr lang="en-US" sz="1600" dirty="0">
              <a:solidFill>
                <a:schemeClr val="bg2">
                  <a:lumMod val="50000"/>
                </a:schemeClr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600" dirty="0" err="1">
                <a:solidFill>
                  <a:schemeClr val="bg2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cos-net.service</a:t>
            </a:r>
            <a:endParaRPr lang="en-US" sz="1600" dirty="0">
              <a:solidFill>
                <a:schemeClr val="bg2">
                  <a:lumMod val="50000"/>
                </a:schemeClr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600" dirty="0" err="1">
                <a:solidFill>
                  <a:schemeClr val="bg2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cos-portalocker.service</a:t>
            </a:r>
            <a:endParaRPr lang="en-US" sz="1600" dirty="0">
              <a:solidFill>
                <a:schemeClr val="bg2">
                  <a:lumMod val="50000"/>
                </a:schemeClr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600" dirty="0" err="1">
                <a:solidFill>
                  <a:schemeClr val="bg2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cos.target</a:t>
            </a:r>
            <a:endParaRPr lang="en-US" sz="1600" dirty="0">
              <a:solidFill>
                <a:schemeClr val="bg2">
                  <a:lumMod val="50000"/>
                </a:schemeClr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600" dirty="0"/>
          </a:p>
          <a:p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c:\&gt;c:\opt\mesosphere\bin\systemctl.exe is-active </a:t>
            </a:r>
            <a:r>
              <a:rPr lang="en-US" sz="1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dcos-net.service</a:t>
            </a:r>
            <a:endParaRPr lang="en-US" sz="1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600" dirty="0">
                <a:solidFill>
                  <a:schemeClr val="bg2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ctive</a:t>
            </a:r>
          </a:p>
          <a:p>
            <a:endParaRPr lang="en-US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71211899"/>
      </p:ext>
    </p:extLst>
  </p:cSld>
  <p:clrMapOvr>
    <a:masterClrMapping/>
  </p:clrMapOvr>
  <p:transition>
    <p:fad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accent1">
                <a:lumMod val="5000"/>
                <a:lumOff val="95000"/>
              </a:schemeClr>
            </a:gs>
            <a:gs pos="74000">
              <a:schemeClr val="accent1">
                <a:lumMod val="45000"/>
                <a:lumOff val="55000"/>
              </a:schemeClr>
            </a:gs>
            <a:gs pos="83000">
              <a:schemeClr val="accent1">
                <a:lumMod val="45000"/>
                <a:lumOff val="55000"/>
              </a:schemeClr>
            </a:gs>
            <a:gs pos="100000">
              <a:schemeClr val="accent1">
                <a:lumMod val="30000"/>
                <a:lumOff val="70000"/>
              </a:schemeClr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829149B0-96FA-41B2-BBE8-F7C02942790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207474" y="1897062"/>
            <a:ext cx="7822222" cy="45714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6978306"/>
      </p:ext>
    </p:extLst>
  </p:cSld>
  <p:clrMapOvr>
    <a:masterClrMapping/>
  </p:clrMapOvr>
  <p:transition>
    <p:fade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2">
            <a:extLst>
              <a:ext uri="{FF2B5EF4-FFF2-40B4-BE49-F238E27FC236}">
                <a16:creationId xmlns:a16="http://schemas.microsoft.com/office/drawing/2014/main" id="{39401DC4-CCCE-40F2-8324-9EF5CB65F81B}"/>
              </a:ext>
            </a:extLst>
          </p:cNvPr>
          <p:cNvSpPr txBox="1">
            <a:spLocks/>
          </p:cNvSpPr>
          <p:nvPr/>
        </p:nvSpPr>
        <p:spPr>
          <a:xfrm>
            <a:off x="274637" y="-7938"/>
            <a:ext cx="11889564" cy="304800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>
            <a:lvl1pPr algn="l" defTabSz="9325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799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ctr"/>
            <a:r>
              <a:rPr lang="en-US" sz="1800" b="1" dirty="0">
                <a:latin typeface="Verdana" panose="020B0604030504040204" pitchFamily="34" charset="0"/>
                <a:ea typeface="Verdana" panose="020B0604030504040204" pitchFamily="34" charset="0"/>
                <a:cs typeface="Aharoni" panose="02010803020104030203" pitchFamily="2" charset="-79"/>
              </a:rPr>
              <a:t>Demo: Cloud shell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F2399640-AAB1-41B1-AA69-32EC08E9B9E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2193" y="430164"/>
            <a:ext cx="12192089" cy="6572298"/>
          </a:xfrm>
          <a:prstGeom prst="rect">
            <a:avLst/>
          </a:prstGeom>
        </p:spPr>
      </p:pic>
      <p:sp>
        <p:nvSpPr>
          <p:cNvPr id="4" name="Oval 3">
            <a:extLst>
              <a:ext uri="{FF2B5EF4-FFF2-40B4-BE49-F238E27FC236}">
                <a16:creationId xmlns:a16="http://schemas.microsoft.com/office/drawing/2014/main" id="{15846147-5065-4D71-B893-F881DE0F05B3}"/>
              </a:ext>
            </a:extLst>
          </p:cNvPr>
          <p:cNvSpPr/>
          <p:nvPr/>
        </p:nvSpPr>
        <p:spPr bwMode="auto">
          <a:xfrm>
            <a:off x="8580437" y="1135062"/>
            <a:ext cx="533400" cy="381000"/>
          </a:xfrm>
          <a:prstGeom prst="ellipse">
            <a:avLst/>
          </a:prstGeom>
          <a:noFill/>
          <a:ln>
            <a:solidFill>
              <a:srgbClr val="C0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28596292"/>
      </p:ext>
    </p:extLst>
  </p:cSld>
  <p:clrMapOvr>
    <a:masterClrMapping/>
  </p:clrMapOvr>
  <p:transition>
    <p:fade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2">
            <a:extLst>
              <a:ext uri="{FF2B5EF4-FFF2-40B4-BE49-F238E27FC236}">
                <a16:creationId xmlns:a16="http://schemas.microsoft.com/office/drawing/2014/main" id="{39401DC4-CCCE-40F2-8324-9EF5CB65F81B}"/>
              </a:ext>
            </a:extLst>
          </p:cNvPr>
          <p:cNvSpPr txBox="1">
            <a:spLocks/>
          </p:cNvSpPr>
          <p:nvPr/>
        </p:nvSpPr>
        <p:spPr>
          <a:xfrm>
            <a:off x="274637" y="-7938"/>
            <a:ext cx="11889564" cy="304800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>
            <a:lvl1pPr algn="l" defTabSz="9325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799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ctr"/>
            <a:r>
              <a:rPr lang="en-US" sz="1800" b="1" dirty="0">
                <a:latin typeface="Verdana" panose="020B0604030504040204" pitchFamily="34" charset="0"/>
                <a:ea typeface="Verdana" panose="020B0604030504040204" pitchFamily="34" charset="0"/>
                <a:cs typeface="Aharoni" panose="02010803020104030203" pitchFamily="2" charset="-79"/>
              </a:rPr>
              <a:t>Demo: Cloud shell (cont.)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A13F0A7-1508-4E03-A7BB-69D17292BD4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2193" y="430164"/>
            <a:ext cx="12192089" cy="65722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8990087"/>
      </p:ext>
    </p:extLst>
  </p:cSld>
  <p:clrMapOvr>
    <a:masterClrMapping/>
  </p:clrMapOvr>
  <p:transition>
    <p:fade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2">
            <a:extLst>
              <a:ext uri="{FF2B5EF4-FFF2-40B4-BE49-F238E27FC236}">
                <a16:creationId xmlns:a16="http://schemas.microsoft.com/office/drawing/2014/main" id="{39401DC4-CCCE-40F2-8324-9EF5CB65F81B}"/>
              </a:ext>
            </a:extLst>
          </p:cNvPr>
          <p:cNvSpPr txBox="1">
            <a:spLocks/>
          </p:cNvSpPr>
          <p:nvPr/>
        </p:nvSpPr>
        <p:spPr>
          <a:xfrm>
            <a:off x="274637" y="-7938"/>
            <a:ext cx="11889564" cy="457200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>
            <a:lvl1pPr algn="l" defTabSz="9325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799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ctr"/>
            <a:r>
              <a:rPr lang="en-US" sz="1800" b="1" dirty="0">
                <a:latin typeface="Verdana" panose="020B0604030504040204" pitchFamily="34" charset="0"/>
                <a:ea typeface="Verdana" panose="020B0604030504040204" pitchFamily="34" charset="0"/>
                <a:cs typeface="Aharoni" panose="02010803020104030203" pitchFamily="2" charset="-79"/>
              </a:rPr>
              <a:t>Demo: getting </a:t>
            </a:r>
            <a:r>
              <a:rPr lang="en-US" sz="1800" b="1" dirty="0" err="1">
                <a:latin typeface="Verdana" panose="020B0604030504040204" pitchFamily="34" charset="0"/>
                <a:ea typeface="Verdana" panose="020B0604030504040204" pitchFamily="34" charset="0"/>
                <a:cs typeface="Aharoni" panose="02010803020104030203" pitchFamily="2" charset="-79"/>
              </a:rPr>
              <a:t>dcos</a:t>
            </a:r>
            <a:r>
              <a:rPr lang="en-US" sz="1800" b="1" dirty="0">
                <a:latin typeface="Verdana" panose="020B0604030504040204" pitchFamily="34" charset="0"/>
                <a:ea typeface="Verdana" panose="020B0604030504040204" pitchFamily="34" charset="0"/>
                <a:cs typeface="Aharoni" panose="02010803020104030203" pitchFamily="2" charset="-79"/>
              </a:rPr>
              <a:t>-engin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6D4B536-C24D-40AE-A6EF-48D4B2103F0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7577" y="449263"/>
            <a:ext cx="12156660" cy="655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772872"/>
      </p:ext>
    </p:extLst>
  </p:cSld>
  <p:clrMapOvr>
    <a:masterClrMapping/>
  </p:clrMapOvr>
  <p:transition>
    <p:fade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2">
            <a:extLst>
              <a:ext uri="{FF2B5EF4-FFF2-40B4-BE49-F238E27FC236}">
                <a16:creationId xmlns:a16="http://schemas.microsoft.com/office/drawing/2014/main" id="{39401DC4-CCCE-40F2-8324-9EF5CB65F81B}"/>
              </a:ext>
            </a:extLst>
          </p:cNvPr>
          <p:cNvSpPr txBox="1">
            <a:spLocks/>
          </p:cNvSpPr>
          <p:nvPr/>
        </p:nvSpPr>
        <p:spPr>
          <a:xfrm>
            <a:off x="274637" y="-7938"/>
            <a:ext cx="11889564" cy="304800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>
            <a:lvl1pPr algn="l" defTabSz="9325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799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ctr"/>
            <a:r>
              <a:rPr lang="en-US" sz="1800" b="1" dirty="0">
                <a:latin typeface="Verdana" panose="020B0604030504040204" pitchFamily="34" charset="0"/>
                <a:ea typeface="Verdana" panose="020B0604030504040204" pitchFamily="34" charset="0"/>
                <a:cs typeface="Aharoni" panose="02010803020104030203" pitchFamily="2" charset="-79"/>
              </a:rPr>
              <a:t>Demo: getting </a:t>
            </a:r>
            <a:r>
              <a:rPr lang="en-US" sz="1800" b="1" dirty="0" err="1">
                <a:latin typeface="Verdana" panose="020B0604030504040204" pitchFamily="34" charset="0"/>
                <a:ea typeface="Verdana" panose="020B0604030504040204" pitchFamily="34" charset="0"/>
                <a:cs typeface="Aharoni" panose="02010803020104030203" pitchFamily="2" charset="-79"/>
              </a:rPr>
              <a:t>dcos</a:t>
            </a:r>
            <a:r>
              <a:rPr lang="en-US" sz="1800" b="1" dirty="0">
                <a:latin typeface="Verdana" panose="020B0604030504040204" pitchFamily="34" charset="0"/>
                <a:ea typeface="Verdana" panose="020B0604030504040204" pitchFamily="34" charset="0"/>
                <a:cs typeface="Aharoni" panose="02010803020104030203" pitchFamily="2" charset="-79"/>
              </a:rPr>
              <a:t>-engine (cont.)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F60DD96-C055-4A32-8E47-3F5FD399EF1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2193" y="430164"/>
            <a:ext cx="12192089" cy="65722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7240048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78D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3730252"/>
          </a:xfrm>
        </p:spPr>
        <p:txBody>
          <a:bodyPr/>
          <a:lstStyle/>
          <a:p>
            <a:pPr marL="571500" indent="-571500">
              <a:buFont typeface="Arial" panose="020B0604020202020204" pitchFamily="34" charset="0"/>
              <a:buChar char="•"/>
            </a:pPr>
            <a:r>
              <a:rPr lang="en-US" sz="3600" dirty="0"/>
              <a:t>ARM – Azure Resource Manager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en-US" sz="3600" dirty="0"/>
              <a:t>ARM template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en-US" sz="3600" dirty="0" err="1"/>
              <a:t>dcos</a:t>
            </a:r>
            <a:r>
              <a:rPr lang="en-US" sz="3600" dirty="0"/>
              <a:t>-engine</a:t>
            </a:r>
            <a:endParaRPr lang="en-US" sz="1400" dirty="0"/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en-US" sz="3600" dirty="0"/>
              <a:t>DC/OS for Windows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en-US" sz="3600" dirty="0"/>
              <a:t>Demo: deploy, scale, upgrade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en-US" sz="3600" dirty="0"/>
              <a:t>Q&amp;A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sz="3200" b="1" dirty="0">
                <a:latin typeface="Verdana" panose="020B0604030504040204" pitchFamily="34" charset="0"/>
                <a:ea typeface="Verdana" panose="020B0604030504040204" pitchFamily="34" charset="0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777970844"/>
      </p:ext>
    </p:extLst>
  </p:cSld>
  <p:clrMapOvr>
    <a:masterClrMapping/>
  </p:clrMapOvr>
  <p:transition>
    <p:fade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2">
            <a:extLst>
              <a:ext uri="{FF2B5EF4-FFF2-40B4-BE49-F238E27FC236}">
                <a16:creationId xmlns:a16="http://schemas.microsoft.com/office/drawing/2014/main" id="{39401DC4-CCCE-40F2-8324-9EF5CB65F81B}"/>
              </a:ext>
            </a:extLst>
          </p:cNvPr>
          <p:cNvSpPr txBox="1">
            <a:spLocks/>
          </p:cNvSpPr>
          <p:nvPr/>
        </p:nvSpPr>
        <p:spPr>
          <a:xfrm>
            <a:off x="274637" y="-7938"/>
            <a:ext cx="11889564" cy="304800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>
            <a:lvl1pPr algn="l" defTabSz="9325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799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ctr"/>
            <a:r>
              <a:rPr lang="en-US" sz="1800" b="1" dirty="0">
                <a:latin typeface="Verdana" panose="020B0604030504040204" pitchFamily="34" charset="0"/>
                <a:ea typeface="Verdana" panose="020B0604030504040204" pitchFamily="34" charset="0"/>
                <a:cs typeface="Aharoni" panose="02010803020104030203" pitchFamily="2" charset="-79"/>
              </a:rPr>
              <a:t>Demo: getting </a:t>
            </a:r>
            <a:r>
              <a:rPr lang="en-US" sz="1800" b="1" dirty="0" err="1">
                <a:latin typeface="Verdana" panose="020B0604030504040204" pitchFamily="34" charset="0"/>
                <a:ea typeface="Verdana" panose="020B0604030504040204" pitchFamily="34" charset="0"/>
                <a:cs typeface="Aharoni" panose="02010803020104030203" pitchFamily="2" charset="-79"/>
              </a:rPr>
              <a:t>dcos</a:t>
            </a:r>
            <a:r>
              <a:rPr lang="en-US" sz="1800" b="1" dirty="0">
                <a:latin typeface="Verdana" panose="020B0604030504040204" pitchFamily="34" charset="0"/>
                <a:ea typeface="Verdana" panose="020B0604030504040204" pitchFamily="34" charset="0"/>
                <a:cs typeface="Aharoni" panose="02010803020104030203" pitchFamily="2" charset="-79"/>
              </a:rPr>
              <a:t>-engine (cont.)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054EC74E-A01B-4D9D-B5F7-D3CA6D20D01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2193" y="430164"/>
            <a:ext cx="12192089" cy="65722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37129"/>
      </p:ext>
    </p:extLst>
  </p:cSld>
  <p:clrMapOvr>
    <a:masterClrMapping/>
  </p:clrMapOvr>
  <p:transition>
    <p:fade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2">
            <a:extLst>
              <a:ext uri="{FF2B5EF4-FFF2-40B4-BE49-F238E27FC236}">
                <a16:creationId xmlns:a16="http://schemas.microsoft.com/office/drawing/2014/main" id="{39401DC4-CCCE-40F2-8324-9EF5CB65F81B}"/>
              </a:ext>
            </a:extLst>
          </p:cNvPr>
          <p:cNvSpPr txBox="1">
            <a:spLocks/>
          </p:cNvSpPr>
          <p:nvPr/>
        </p:nvSpPr>
        <p:spPr>
          <a:xfrm>
            <a:off x="274637" y="-7938"/>
            <a:ext cx="11889564" cy="304800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>
            <a:lvl1pPr algn="l" defTabSz="9325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799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ctr"/>
            <a:r>
              <a:rPr lang="en-US" sz="1800" b="1" dirty="0">
                <a:latin typeface="Verdana" panose="020B0604030504040204" pitchFamily="34" charset="0"/>
                <a:ea typeface="Verdana" panose="020B0604030504040204" pitchFamily="34" charset="0"/>
                <a:cs typeface="Aharoni" panose="02010803020104030203" pitchFamily="2" charset="-79"/>
              </a:rPr>
              <a:t>Demo: cluster deployment (cont.)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8DB586D0-E674-47A5-AABB-76DBCCF8635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2193" y="430164"/>
            <a:ext cx="12192089" cy="65722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753985"/>
      </p:ext>
    </p:extLst>
  </p:cSld>
  <p:clrMapOvr>
    <a:masterClrMapping/>
  </p:clrMapOvr>
  <p:transition>
    <p:fade/>
  </p:transition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2">
            <a:extLst>
              <a:ext uri="{FF2B5EF4-FFF2-40B4-BE49-F238E27FC236}">
                <a16:creationId xmlns:a16="http://schemas.microsoft.com/office/drawing/2014/main" id="{39401DC4-CCCE-40F2-8324-9EF5CB65F81B}"/>
              </a:ext>
            </a:extLst>
          </p:cNvPr>
          <p:cNvSpPr txBox="1">
            <a:spLocks/>
          </p:cNvSpPr>
          <p:nvPr/>
        </p:nvSpPr>
        <p:spPr>
          <a:xfrm>
            <a:off x="274637" y="-7938"/>
            <a:ext cx="11889564" cy="304800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>
            <a:lvl1pPr algn="l" defTabSz="9325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799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ctr"/>
            <a:r>
              <a:rPr lang="en-US" sz="1800" b="1" dirty="0">
                <a:latin typeface="Verdana" panose="020B0604030504040204" pitchFamily="34" charset="0"/>
                <a:ea typeface="Verdana" panose="020B0604030504040204" pitchFamily="34" charset="0"/>
                <a:cs typeface="Aharoni" panose="02010803020104030203" pitchFamily="2" charset="-79"/>
              </a:rPr>
              <a:t>Demo: cluster deployment (cont.)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54F39B57-19AB-4156-A8CF-62AF4C70539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2193" y="430164"/>
            <a:ext cx="12192089" cy="6572298"/>
          </a:xfrm>
          <a:prstGeom prst="rect">
            <a:avLst/>
          </a:prstGeom>
        </p:spPr>
      </p:pic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5EF5933F-720E-4525-AA71-98BD2C9B2C1F}"/>
              </a:ext>
            </a:extLst>
          </p:cNvPr>
          <p:cNvSpPr/>
          <p:nvPr/>
        </p:nvSpPr>
        <p:spPr bwMode="auto">
          <a:xfrm>
            <a:off x="3398837" y="2125662"/>
            <a:ext cx="4114800" cy="914400"/>
          </a:xfrm>
          <a:prstGeom prst="round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2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rPr>
              <a:t>DC/OS Version: 1.11.2</a:t>
            </a:r>
          </a:p>
          <a:p>
            <a:pPr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2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rPr>
              <a:t>Master nodes: 1</a:t>
            </a:r>
          </a:p>
          <a:p>
            <a:pPr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2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rPr>
              <a:t>DNS: </a:t>
            </a:r>
            <a:r>
              <a:rPr lang="en-US" sz="12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rPr>
              <a:t>mesos</a:t>
            </a:r>
            <a:r>
              <a:rPr lang="en-US" sz="12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rPr>
              <a:t>-demo.&lt;location&gt;.cloudapp.azure.com</a:t>
            </a:r>
          </a:p>
          <a:p>
            <a:pPr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2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rPr>
              <a:t>Compute: 2 vCPU, 8 </a:t>
            </a:r>
            <a:r>
              <a:rPr lang="en-US" sz="12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rPr>
              <a:t>GiB</a:t>
            </a:r>
            <a:endParaRPr lang="en-US" sz="12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A6776239-D902-4732-9DFB-DF87A32EEF64}"/>
              </a:ext>
            </a:extLst>
          </p:cNvPr>
          <p:cNvSpPr/>
          <p:nvPr/>
        </p:nvSpPr>
        <p:spPr bwMode="auto">
          <a:xfrm>
            <a:off x="3398837" y="3170506"/>
            <a:ext cx="2438400" cy="914400"/>
          </a:xfrm>
          <a:prstGeom prst="roundRect">
            <a:avLst/>
          </a:prstGeom>
          <a:solidFill>
            <a:schemeClr val="accent2">
              <a:lumMod val="75000"/>
              <a:lumOff val="2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2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rPr>
              <a:t>Agent pool name: “win”</a:t>
            </a:r>
          </a:p>
          <a:p>
            <a:pPr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2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rPr>
              <a:t>Agent nodes: 2</a:t>
            </a:r>
          </a:p>
          <a:p>
            <a:pPr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2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rPr>
              <a:t>Compute: 4 vCPU, 16 </a:t>
            </a:r>
            <a:r>
              <a:rPr lang="en-US" sz="12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rPr>
              <a:t>GiB</a:t>
            </a:r>
            <a:endParaRPr lang="en-US" sz="12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  <a:p>
            <a:pPr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2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rPr>
              <a:t>Agent OS: Windows</a:t>
            </a:r>
          </a:p>
        </p:txBody>
      </p:sp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900A5CF1-1250-4592-90B2-0D694A935982}"/>
              </a:ext>
            </a:extLst>
          </p:cNvPr>
          <p:cNvCxnSpPr>
            <a:cxnSpLocks/>
          </p:cNvCxnSpPr>
          <p:nvPr/>
        </p:nvCxnSpPr>
        <p:spPr>
          <a:xfrm>
            <a:off x="1951037" y="2354262"/>
            <a:ext cx="1600200" cy="0"/>
          </a:xfrm>
          <a:prstGeom prst="straightConnector1">
            <a:avLst/>
          </a:prstGeom>
          <a:ln>
            <a:solidFill>
              <a:srgbClr val="FFC000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8700BA9C-1FA6-49F3-9045-BD549B7706F3}"/>
              </a:ext>
            </a:extLst>
          </p:cNvPr>
          <p:cNvCxnSpPr>
            <a:cxnSpLocks/>
          </p:cNvCxnSpPr>
          <p:nvPr/>
        </p:nvCxnSpPr>
        <p:spPr>
          <a:xfrm flipV="1">
            <a:off x="1036637" y="2516211"/>
            <a:ext cx="2514600" cy="142851"/>
          </a:xfrm>
          <a:prstGeom prst="straightConnector1">
            <a:avLst/>
          </a:prstGeom>
          <a:ln>
            <a:solidFill>
              <a:srgbClr val="FFC000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443250F9-1254-41B5-9F74-611B9725989B}"/>
              </a:ext>
            </a:extLst>
          </p:cNvPr>
          <p:cNvCxnSpPr>
            <a:cxnSpLocks/>
          </p:cNvCxnSpPr>
          <p:nvPr/>
        </p:nvCxnSpPr>
        <p:spPr>
          <a:xfrm>
            <a:off x="1722437" y="2735262"/>
            <a:ext cx="1828800" cy="0"/>
          </a:xfrm>
          <a:prstGeom prst="straightConnector1">
            <a:avLst/>
          </a:prstGeom>
          <a:ln>
            <a:solidFill>
              <a:srgbClr val="FFC000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72753A86-EF4C-4021-8037-9263D8F45F7A}"/>
              </a:ext>
            </a:extLst>
          </p:cNvPr>
          <p:cNvCxnSpPr>
            <a:cxnSpLocks/>
          </p:cNvCxnSpPr>
          <p:nvPr/>
        </p:nvCxnSpPr>
        <p:spPr>
          <a:xfrm>
            <a:off x="1798637" y="2887662"/>
            <a:ext cx="1752600" cy="0"/>
          </a:xfrm>
          <a:prstGeom prst="straightConnector1">
            <a:avLst/>
          </a:prstGeom>
          <a:ln>
            <a:solidFill>
              <a:srgbClr val="FFC000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CD94BEE3-EACE-432A-944C-3F1D29A1F9E0}"/>
              </a:ext>
            </a:extLst>
          </p:cNvPr>
          <p:cNvSpPr/>
          <p:nvPr/>
        </p:nvSpPr>
        <p:spPr bwMode="auto">
          <a:xfrm>
            <a:off x="3398837" y="4259262"/>
            <a:ext cx="2438400" cy="914400"/>
          </a:xfrm>
          <a:prstGeom prst="roundRect">
            <a:avLst/>
          </a:prstGeom>
          <a:solidFill>
            <a:schemeClr val="accent2">
              <a:lumMod val="75000"/>
              <a:lumOff val="2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2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rPr>
              <a:t>Agent pool name: “</a:t>
            </a:r>
            <a:r>
              <a:rPr lang="en-US" sz="12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rPr>
              <a:t>lnx</a:t>
            </a:r>
            <a:r>
              <a:rPr lang="en-US" sz="12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rPr>
              <a:t>”</a:t>
            </a:r>
          </a:p>
          <a:p>
            <a:pPr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2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rPr>
              <a:t>Agent nodes: 2</a:t>
            </a:r>
          </a:p>
          <a:p>
            <a:pPr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2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rPr>
              <a:t>Compute: 2 vCPU, 8 </a:t>
            </a:r>
            <a:r>
              <a:rPr lang="en-US" sz="12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rPr>
              <a:t>GiB</a:t>
            </a:r>
            <a:endParaRPr lang="en-US" sz="12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  <a:p>
            <a:pPr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2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rPr>
              <a:t>Agent OS: Linux</a:t>
            </a:r>
          </a:p>
        </p:txBody>
      </p: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C1468285-0778-4A2E-B14B-3476580BE0BE}"/>
              </a:ext>
            </a:extLst>
          </p:cNvPr>
          <p:cNvCxnSpPr>
            <a:cxnSpLocks/>
          </p:cNvCxnSpPr>
          <p:nvPr/>
        </p:nvCxnSpPr>
        <p:spPr>
          <a:xfrm>
            <a:off x="1341437" y="3344862"/>
            <a:ext cx="2209800" cy="152400"/>
          </a:xfrm>
          <a:prstGeom prst="straightConnector1">
            <a:avLst/>
          </a:prstGeom>
          <a:ln>
            <a:solidFill>
              <a:srgbClr val="FFC000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D17E0FC3-03F2-4098-A02B-3D25810C51FE}"/>
              </a:ext>
            </a:extLst>
          </p:cNvPr>
          <p:cNvCxnSpPr>
            <a:cxnSpLocks/>
          </p:cNvCxnSpPr>
          <p:nvPr/>
        </p:nvCxnSpPr>
        <p:spPr>
          <a:xfrm>
            <a:off x="1189037" y="3421062"/>
            <a:ext cx="2362200" cy="206644"/>
          </a:xfrm>
          <a:prstGeom prst="straightConnector1">
            <a:avLst/>
          </a:prstGeom>
          <a:ln>
            <a:solidFill>
              <a:srgbClr val="FFC000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8D722FDD-5913-45B1-9340-B987F6274296}"/>
              </a:ext>
            </a:extLst>
          </p:cNvPr>
          <p:cNvCxnSpPr>
            <a:cxnSpLocks/>
          </p:cNvCxnSpPr>
          <p:nvPr/>
        </p:nvCxnSpPr>
        <p:spPr>
          <a:xfrm>
            <a:off x="1951037" y="3595418"/>
            <a:ext cx="1600200" cy="162732"/>
          </a:xfrm>
          <a:prstGeom prst="straightConnector1">
            <a:avLst/>
          </a:prstGeom>
          <a:ln>
            <a:solidFill>
              <a:srgbClr val="FFC000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B5F9FD4C-7FAC-420C-8158-1ACB34A3045B}"/>
              </a:ext>
            </a:extLst>
          </p:cNvPr>
          <p:cNvCxnSpPr>
            <a:cxnSpLocks/>
          </p:cNvCxnSpPr>
          <p:nvPr/>
        </p:nvCxnSpPr>
        <p:spPr>
          <a:xfrm>
            <a:off x="1570037" y="3687763"/>
            <a:ext cx="1981200" cy="190499"/>
          </a:xfrm>
          <a:prstGeom prst="straightConnector1">
            <a:avLst/>
          </a:prstGeom>
          <a:ln>
            <a:solidFill>
              <a:srgbClr val="FFC000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Arrow Connector 28">
            <a:extLst>
              <a:ext uri="{FF2B5EF4-FFF2-40B4-BE49-F238E27FC236}">
                <a16:creationId xmlns:a16="http://schemas.microsoft.com/office/drawing/2014/main" id="{741F4EE2-B82F-4E3E-80A4-D352538D5E75}"/>
              </a:ext>
            </a:extLst>
          </p:cNvPr>
          <p:cNvCxnSpPr>
            <a:cxnSpLocks/>
          </p:cNvCxnSpPr>
          <p:nvPr/>
        </p:nvCxnSpPr>
        <p:spPr>
          <a:xfrm>
            <a:off x="1341437" y="4030662"/>
            <a:ext cx="2209800" cy="457200"/>
          </a:xfrm>
          <a:prstGeom prst="straightConnector1">
            <a:avLst/>
          </a:prstGeom>
          <a:ln>
            <a:solidFill>
              <a:srgbClr val="FFC000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Arrow Connector 31">
            <a:extLst>
              <a:ext uri="{FF2B5EF4-FFF2-40B4-BE49-F238E27FC236}">
                <a16:creationId xmlns:a16="http://schemas.microsoft.com/office/drawing/2014/main" id="{82985BA3-892D-427B-870E-3386331BB90D}"/>
              </a:ext>
            </a:extLst>
          </p:cNvPr>
          <p:cNvCxnSpPr>
            <a:cxnSpLocks/>
          </p:cNvCxnSpPr>
          <p:nvPr/>
        </p:nvCxnSpPr>
        <p:spPr>
          <a:xfrm>
            <a:off x="1326514" y="4147184"/>
            <a:ext cx="2224723" cy="502627"/>
          </a:xfrm>
          <a:prstGeom prst="straightConnector1">
            <a:avLst/>
          </a:prstGeom>
          <a:ln>
            <a:solidFill>
              <a:srgbClr val="FFC000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>
            <a:extLst>
              <a:ext uri="{FF2B5EF4-FFF2-40B4-BE49-F238E27FC236}">
                <a16:creationId xmlns:a16="http://schemas.microsoft.com/office/drawing/2014/main" id="{EEF77258-2A7A-41C1-BC59-FC7DDA1C1AFF}"/>
              </a:ext>
            </a:extLst>
          </p:cNvPr>
          <p:cNvCxnSpPr>
            <a:cxnSpLocks/>
          </p:cNvCxnSpPr>
          <p:nvPr/>
        </p:nvCxnSpPr>
        <p:spPr>
          <a:xfrm>
            <a:off x="1570037" y="4355623"/>
            <a:ext cx="1981200" cy="437039"/>
          </a:xfrm>
          <a:prstGeom prst="straightConnector1">
            <a:avLst/>
          </a:prstGeom>
          <a:ln>
            <a:solidFill>
              <a:srgbClr val="FFC000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Arrow Connector 36">
            <a:extLst>
              <a:ext uri="{FF2B5EF4-FFF2-40B4-BE49-F238E27FC236}">
                <a16:creationId xmlns:a16="http://schemas.microsoft.com/office/drawing/2014/main" id="{3ABD2411-52A9-47B7-B6FD-CACF3300BEC1}"/>
              </a:ext>
            </a:extLst>
          </p:cNvPr>
          <p:cNvCxnSpPr>
            <a:cxnSpLocks/>
          </p:cNvCxnSpPr>
          <p:nvPr/>
        </p:nvCxnSpPr>
        <p:spPr>
          <a:xfrm>
            <a:off x="1344611" y="4413884"/>
            <a:ext cx="2221549" cy="512080"/>
          </a:xfrm>
          <a:prstGeom prst="straightConnector1">
            <a:avLst/>
          </a:prstGeom>
          <a:ln>
            <a:solidFill>
              <a:srgbClr val="FFC000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9525883"/>
      </p:ext>
    </p:extLst>
  </p:cSld>
  <p:clrMapOvr>
    <a:masterClrMapping/>
  </p:clrMapOvr>
  <p:transition>
    <p:fade/>
  </p:transition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2">
            <a:extLst>
              <a:ext uri="{FF2B5EF4-FFF2-40B4-BE49-F238E27FC236}">
                <a16:creationId xmlns:a16="http://schemas.microsoft.com/office/drawing/2014/main" id="{39401DC4-CCCE-40F2-8324-9EF5CB65F81B}"/>
              </a:ext>
            </a:extLst>
          </p:cNvPr>
          <p:cNvSpPr txBox="1">
            <a:spLocks/>
          </p:cNvSpPr>
          <p:nvPr/>
        </p:nvSpPr>
        <p:spPr>
          <a:xfrm>
            <a:off x="274637" y="-7938"/>
            <a:ext cx="11889564" cy="304800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>
            <a:lvl1pPr algn="l" defTabSz="9325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799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ctr"/>
            <a:r>
              <a:rPr lang="en-US" sz="1800" b="1" dirty="0">
                <a:latin typeface="Verdana" panose="020B0604030504040204" pitchFamily="34" charset="0"/>
                <a:ea typeface="Verdana" panose="020B0604030504040204" pitchFamily="34" charset="0"/>
                <a:cs typeface="Aharoni" panose="02010803020104030203" pitchFamily="2" charset="-79"/>
              </a:rPr>
              <a:t>Demo: cluster deployment (cont.)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D9568F1F-80ED-40A0-B523-EDC4AE28EEC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2193" y="430164"/>
            <a:ext cx="12192089" cy="65722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7068202"/>
      </p:ext>
    </p:extLst>
  </p:cSld>
  <p:clrMapOvr>
    <a:masterClrMapping/>
  </p:clrMapOvr>
  <p:transition>
    <p:fade/>
  </p:transition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2">
            <a:extLst>
              <a:ext uri="{FF2B5EF4-FFF2-40B4-BE49-F238E27FC236}">
                <a16:creationId xmlns:a16="http://schemas.microsoft.com/office/drawing/2014/main" id="{39401DC4-CCCE-40F2-8324-9EF5CB65F81B}"/>
              </a:ext>
            </a:extLst>
          </p:cNvPr>
          <p:cNvSpPr txBox="1">
            <a:spLocks/>
          </p:cNvSpPr>
          <p:nvPr/>
        </p:nvSpPr>
        <p:spPr>
          <a:xfrm>
            <a:off x="274637" y="-7938"/>
            <a:ext cx="11889564" cy="304800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>
            <a:lvl1pPr algn="l" defTabSz="9325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799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ctr"/>
            <a:r>
              <a:rPr lang="en-US" sz="1800" b="1" dirty="0">
                <a:latin typeface="Verdana" panose="020B0604030504040204" pitchFamily="34" charset="0"/>
                <a:ea typeface="Verdana" panose="020B0604030504040204" pitchFamily="34" charset="0"/>
                <a:cs typeface="Aharoni" panose="02010803020104030203" pitchFamily="2" charset="-79"/>
              </a:rPr>
              <a:t>Demo: cluster deployment (cont.)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205E51D6-A2AA-4CAB-9737-6FEAF30C591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2193" y="430164"/>
            <a:ext cx="12192089" cy="6572298"/>
          </a:xfrm>
          <a:prstGeom prst="rect">
            <a:avLst/>
          </a:prstGeom>
        </p:spPr>
      </p:pic>
      <p:sp>
        <p:nvSpPr>
          <p:cNvPr id="6" name="Oval 5">
            <a:extLst>
              <a:ext uri="{FF2B5EF4-FFF2-40B4-BE49-F238E27FC236}">
                <a16:creationId xmlns:a16="http://schemas.microsoft.com/office/drawing/2014/main" id="{18557E40-A808-4656-964A-961F9027B0C5}"/>
              </a:ext>
            </a:extLst>
          </p:cNvPr>
          <p:cNvSpPr/>
          <p:nvPr/>
        </p:nvSpPr>
        <p:spPr bwMode="auto">
          <a:xfrm>
            <a:off x="10180637" y="2201862"/>
            <a:ext cx="685800" cy="457200"/>
          </a:xfrm>
          <a:prstGeom prst="ellipse">
            <a:avLst/>
          </a:prstGeom>
          <a:noFill/>
          <a:ln>
            <a:solidFill>
              <a:srgbClr val="C0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23676359"/>
      </p:ext>
    </p:extLst>
  </p:cSld>
  <p:clrMapOvr>
    <a:masterClrMapping/>
  </p:clrMapOvr>
  <p:transition>
    <p:fade/>
  </p:transition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2">
            <a:extLst>
              <a:ext uri="{FF2B5EF4-FFF2-40B4-BE49-F238E27FC236}">
                <a16:creationId xmlns:a16="http://schemas.microsoft.com/office/drawing/2014/main" id="{39401DC4-CCCE-40F2-8324-9EF5CB65F81B}"/>
              </a:ext>
            </a:extLst>
          </p:cNvPr>
          <p:cNvSpPr txBox="1">
            <a:spLocks/>
          </p:cNvSpPr>
          <p:nvPr/>
        </p:nvSpPr>
        <p:spPr>
          <a:xfrm>
            <a:off x="274637" y="-7938"/>
            <a:ext cx="11889564" cy="304800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>
            <a:lvl1pPr algn="l" defTabSz="9325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799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ctr"/>
            <a:r>
              <a:rPr lang="en-US" sz="1800" b="1" dirty="0">
                <a:latin typeface="Verdana" panose="020B0604030504040204" pitchFamily="34" charset="0"/>
                <a:ea typeface="Verdana" panose="020B0604030504040204" pitchFamily="34" charset="0"/>
                <a:cs typeface="Aharoni" panose="02010803020104030203" pitchFamily="2" charset="-79"/>
              </a:rPr>
              <a:t>Demo: cluster deployment (cont.)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A25F1FE-FF99-42D2-A7FB-9F5F714D9A0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199" y="405394"/>
            <a:ext cx="12238038" cy="6597067"/>
          </a:xfrm>
          <a:prstGeom prst="rect">
            <a:avLst/>
          </a:prstGeom>
        </p:spPr>
      </p:pic>
      <p:sp>
        <p:nvSpPr>
          <p:cNvPr id="5" name="Oval 4">
            <a:extLst>
              <a:ext uri="{FF2B5EF4-FFF2-40B4-BE49-F238E27FC236}">
                <a16:creationId xmlns:a16="http://schemas.microsoft.com/office/drawing/2014/main" id="{0563B7D1-A055-4065-BC9B-A4F7AE35702A}"/>
              </a:ext>
            </a:extLst>
          </p:cNvPr>
          <p:cNvSpPr/>
          <p:nvPr/>
        </p:nvSpPr>
        <p:spPr bwMode="auto">
          <a:xfrm>
            <a:off x="10104437" y="2201862"/>
            <a:ext cx="762000" cy="457200"/>
          </a:xfrm>
          <a:prstGeom prst="ellipse">
            <a:avLst/>
          </a:prstGeom>
          <a:noFill/>
          <a:ln>
            <a:solidFill>
              <a:srgbClr val="C0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5927971"/>
      </p:ext>
    </p:extLst>
  </p:cSld>
  <p:clrMapOvr>
    <a:masterClrMapping/>
  </p:clrMapOvr>
  <p:transition>
    <p:fade/>
  </p:transition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2">
            <a:extLst>
              <a:ext uri="{FF2B5EF4-FFF2-40B4-BE49-F238E27FC236}">
                <a16:creationId xmlns:a16="http://schemas.microsoft.com/office/drawing/2014/main" id="{39401DC4-CCCE-40F2-8324-9EF5CB65F81B}"/>
              </a:ext>
            </a:extLst>
          </p:cNvPr>
          <p:cNvSpPr txBox="1">
            <a:spLocks/>
          </p:cNvSpPr>
          <p:nvPr/>
        </p:nvSpPr>
        <p:spPr>
          <a:xfrm>
            <a:off x="274637" y="-7938"/>
            <a:ext cx="11889564" cy="304800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>
            <a:lvl1pPr algn="l" defTabSz="9325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799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ctr"/>
            <a:r>
              <a:rPr lang="en-US" sz="1800" b="1" dirty="0">
                <a:latin typeface="Verdana" panose="020B0604030504040204" pitchFamily="34" charset="0"/>
                <a:ea typeface="Verdana" panose="020B0604030504040204" pitchFamily="34" charset="0"/>
                <a:cs typeface="Aharoni" panose="02010803020104030203" pitchFamily="2" charset="-79"/>
              </a:rPr>
              <a:t>Demo: cluster deployment (cont.)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3AF3E1FF-9CD1-4A36-82EC-41BD57E4490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2193" y="430164"/>
            <a:ext cx="12192089" cy="6572298"/>
          </a:xfrm>
          <a:prstGeom prst="rect">
            <a:avLst/>
          </a:prstGeom>
        </p:spPr>
      </p:pic>
      <p:sp>
        <p:nvSpPr>
          <p:cNvPr id="5" name="Oval 4">
            <a:extLst>
              <a:ext uri="{FF2B5EF4-FFF2-40B4-BE49-F238E27FC236}">
                <a16:creationId xmlns:a16="http://schemas.microsoft.com/office/drawing/2014/main" id="{CAE7DB88-284E-41B8-A5B1-09C81AE89DEA}"/>
              </a:ext>
            </a:extLst>
          </p:cNvPr>
          <p:cNvSpPr/>
          <p:nvPr/>
        </p:nvSpPr>
        <p:spPr bwMode="auto">
          <a:xfrm>
            <a:off x="5913437" y="2659062"/>
            <a:ext cx="457200" cy="381000"/>
          </a:xfrm>
          <a:prstGeom prst="ellipse">
            <a:avLst/>
          </a:prstGeom>
          <a:noFill/>
          <a:ln>
            <a:solidFill>
              <a:srgbClr val="C0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42170642"/>
      </p:ext>
    </p:extLst>
  </p:cSld>
  <p:clrMapOvr>
    <a:masterClrMapping/>
  </p:clrMapOvr>
  <p:transition>
    <p:fade/>
  </p:transition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2">
            <a:extLst>
              <a:ext uri="{FF2B5EF4-FFF2-40B4-BE49-F238E27FC236}">
                <a16:creationId xmlns:a16="http://schemas.microsoft.com/office/drawing/2014/main" id="{39401DC4-CCCE-40F2-8324-9EF5CB65F81B}"/>
              </a:ext>
            </a:extLst>
          </p:cNvPr>
          <p:cNvSpPr txBox="1">
            <a:spLocks/>
          </p:cNvSpPr>
          <p:nvPr/>
        </p:nvSpPr>
        <p:spPr>
          <a:xfrm>
            <a:off x="274637" y="-7938"/>
            <a:ext cx="11889564" cy="304800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>
            <a:lvl1pPr algn="l" defTabSz="9325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799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ctr"/>
            <a:r>
              <a:rPr lang="en-US" sz="1800" b="1" dirty="0">
                <a:latin typeface="Verdana" panose="020B0604030504040204" pitchFamily="34" charset="0"/>
                <a:ea typeface="Verdana" panose="020B0604030504040204" pitchFamily="34" charset="0"/>
                <a:cs typeface="Aharoni" panose="02010803020104030203" pitchFamily="2" charset="-79"/>
              </a:rPr>
              <a:t>Demo: cluster deployment (cont.)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D7C4443-757D-46CE-89B9-EDEC7A745F3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2193" y="430164"/>
            <a:ext cx="12192089" cy="6572298"/>
          </a:xfrm>
          <a:prstGeom prst="rect">
            <a:avLst/>
          </a:prstGeom>
        </p:spPr>
      </p:pic>
      <p:sp>
        <p:nvSpPr>
          <p:cNvPr id="5" name="Oval 4">
            <a:extLst>
              <a:ext uri="{FF2B5EF4-FFF2-40B4-BE49-F238E27FC236}">
                <a16:creationId xmlns:a16="http://schemas.microsoft.com/office/drawing/2014/main" id="{0B995636-6E00-4003-831D-D67DB98C2635}"/>
              </a:ext>
            </a:extLst>
          </p:cNvPr>
          <p:cNvSpPr/>
          <p:nvPr/>
        </p:nvSpPr>
        <p:spPr bwMode="auto">
          <a:xfrm>
            <a:off x="1951037" y="6303644"/>
            <a:ext cx="533400" cy="381000"/>
          </a:xfrm>
          <a:prstGeom prst="ellipse">
            <a:avLst/>
          </a:prstGeom>
          <a:noFill/>
          <a:ln>
            <a:solidFill>
              <a:srgbClr val="C0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66BC34EC-0855-4CBD-B56A-A370ABB1FDA8}"/>
              </a:ext>
            </a:extLst>
          </p:cNvPr>
          <p:cNvSpPr/>
          <p:nvPr/>
        </p:nvSpPr>
        <p:spPr bwMode="auto">
          <a:xfrm>
            <a:off x="1951037" y="5855993"/>
            <a:ext cx="533400" cy="381000"/>
          </a:xfrm>
          <a:prstGeom prst="ellipse">
            <a:avLst/>
          </a:prstGeom>
          <a:noFill/>
          <a:ln>
            <a:solidFill>
              <a:srgbClr val="C0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06970596"/>
      </p:ext>
    </p:extLst>
  </p:cSld>
  <p:clrMapOvr>
    <a:masterClrMapping/>
  </p:clrMapOvr>
  <p:transition>
    <p:fade/>
  </p:transition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2">
            <a:extLst>
              <a:ext uri="{FF2B5EF4-FFF2-40B4-BE49-F238E27FC236}">
                <a16:creationId xmlns:a16="http://schemas.microsoft.com/office/drawing/2014/main" id="{39401DC4-CCCE-40F2-8324-9EF5CB65F81B}"/>
              </a:ext>
            </a:extLst>
          </p:cNvPr>
          <p:cNvSpPr txBox="1">
            <a:spLocks/>
          </p:cNvSpPr>
          <p:nvPr/>
        </p:nvSpPr>
        <p:spPr>
          <a:xfrm>
            <a:off x="274637" y="-7938"/>
            <a:ext cx="11889564" cy="304800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>
            <a:lvl1pPr algn="l" defTabSz="9325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799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ctr"/>
            <a:r>
              <a:rPr lang="en-US" sz="1800" b="1" dirty="0">
                <a:latin typeface="Verdana" panose="020B0604030504040204" pitchFamily="34" charset="0"/>
                <a:ea typeface="Verdana" panose="020B0604030504040204" pitchFamily="34" charset="0"/>
                <a:cs typeface="Aharoni" panose="02010803020104030203" pitchFamily="2" charset="-79"/>
              </a:rPr>
              <a:t>Demo: cluster deployment (cont.)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3889F54-4122-4A5C-9576-91E3BA236D3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2193" y="430164"/>
            <a:ext cx="12192089" cy="6572298"/>
          </a:xfrm>
          <a:prstGeom prst="rect">
            <a:avLst/>
          </a:prstGeom>
        </p:spPr>
      </p:pic>
      <p:sp>
        <p:nvSpPr>
          <p:cNvPr id="4" name="Oval 3">
            <a:extLst>
              <a:ext uri="{FF2B5EF4-FFF2-40B4-BE49-F238E27FC236}">
                <a16:creationId xmlns:a16="http://schemas.microsoft.com/office/drawing/2014/main" id="{BA2DB0AA-007B-4BEF-80A0-29278BDC8611}"/>
              </a:ext>
            </a:extLst>
          </p:cNvPr>
          <p:cNvSpPr/>
          <p:nvPr/>
        </p:nvSpPr>
        <p:spPr bwMode="auto">
          <a:xfrm>
            <a:off x="5951537" y="4183062"/>
            <a:ext cx="533400" cy="381000"/>
          </a:xfrm>
          <a:prstGeom prst="ellipse">
            <a:avLst/>
          </a:prstGeom>
          <a:noFill/>
          <a:ln>
            <a:solidFill>
              <a:srgbClr val="C0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24259F99-CC60-4101-B280-D8E71F67ABB8}"/>
              </a:ext>
            </a:extLst>
          </p:cNvPr>
          <p:cNvSpPr/>
          <p:nvPr/>
        </p:nvSpPr>
        <p:spPr bwMode="auto">
          <a:xfrm>
            <a:off x="2789237" y="1287462"/>
            <a:ext cx="533400" cy="381000"/>
          </a:xfrm>
          <a:prstGeom prst="ellipse">
            <a:avLst/>
          </a:prstGeom>
          <a:noFill/>
          <a:ln>
            <a:solidFill>
              <a:srgbClr val="C0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0337579"/>
      </p:ext>
    </p:extLst>
  </p:cSld>
  <p:clrMapOvr>
    <a:masterClrMapping/>
  </p:clrMapOvr>
  <p:transition>
    <p:fade/>
  </p:transition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2">
            <a:extLst>
              <a:ext uri="{FF2B5EF4-FFF2-40B4-BE49-F238E27FC236}">
                <a16:creationId xmlns:a16="http://schemas.microsoft.com/office/drawing/2014/main" id="{39401DC4-CCCE-40F2-8324-9EF5CB65F81B}"/>
              </a:ext>
            </a:extLst>
          </p:cNvPr>
          <p:cNvSpPr txBox="1">
            <a:spLocks/>
          </p:cNvSpPr>
          <p:nvPr/>
        </p:nvSpPr>
        <p:spPr>
          <a:xfrm>
            <a:off x="274637" y="-7938"/>
            <a:ext cx="11889564" cy="304800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>
            <a:lvl1pPr algn="l" defTabSz="9325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799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ctr"/>
            <a:r>
              <a:rPr lang="en-US" sz="1800" b="1" dirty="0">
                <a:latin typeface="Verdana" panose="020B0604030504040204" pitchFamily="34" charset="0"/>
                <a:ea typeface="Verdana" panose="020B0604030504040204" pitchFamily="34" charset="0"/>
                <a:cs typeface="Aharoni" panose="02010803020104030203" pitchFamily="2" charset="-79"/>
              </a:rPr>
              <a:t>Demo: cluster deployment (cont.)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2A6E9CDC-D08B-44E4-ACD8-F9CA5BE5849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2193" y="430164"/>
            <a:ext cx="12192089" cy="65722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5963181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accent1">
                <a:lumMod val="5000"/>
                <a:lumOff val="95000"/>
              </a:schemeClr>
            </a:gs>
            <a:gs pos="74000">
              <a:schemeClr val="accent1">
                <a:lumMod val="45000"/>
                <a:lumOff val="55000"/>
              </a:schemeClr>
            </a:gs>
            <a:gs pos="83000">
              <a:schemeClr val="accent1">
                <a:lumMod val="45000"/>
                <a:lumOff val="55000"/>
              </a:schemeClr>
            </a:gs>
            <a:gs pos="100000">
              <a:schemeClr val="accent1">
                <a:lumMod val="30000"/>
                <a:lumOff val="70000"/>
              </a:schemeClr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275481" y="1058862"/>
            <a:ext cx="11885514" cy="5576911"/>
          </a:xfrm>
        </p:spPr>
        <p:txBody>
          <a:bodyPr/>
          <a:lstStyle/>
          <a:p>
            <a:pPr marL="0" indent="0">
              <a:buNone/>
            </a:pPr>
            <a:r>
              <a:rPr lang="en-US" sz="2400" dirty="0">
                <a:solidFill>
                  <a:srgbClr val="0070C0"/>
                </a:solidFill>
                <a:latin typeface="+mn-lt"/>
              </a:rPr>
              <a:t>Azure Resource Manager </a:t>
            </a:r>
            <a:r>
              <a:rPr lang="en-US" sz="2400" dirty="0">
                <a:latin typeface="+mn-lt"/>
              </a:rPr>
              <a:t>(ARM) provides unified interface for deploying and managing resources.</a:t>
            </a:r>
          </a:p>
          <a:p>
            <a:pPr marL="0" indent="0">
              <a:buNone/>
            </a:pPr>
            <a:endParaRPr lang="en-US" sz="2400" dirty="0">
              <a:latin typeface="+mn-lt"/>
            </a:endParaRPr>
          </a:p>
          <a:p>
            <a:pPr marL="0" indent="0">
              <a:buNone/>
            </a:pPr>
            <a:r>
              <a:rPr lang="en-US" sz="2400" dirty="0">
                <a:solidFill>
                  <a:srgbClr val="0070C0"/>
                </a:solidFill>
                <a:latin typeface="+mn-lt"/>
              </a:rPr>
              <a:t>Resource</a:t>
            </a:r>
            <a:r>
              <a:rPr lang="en-US" sz="2400" dirty="0">
                <a:latin typeface="+mn-lt"/>
              </a:rPr>
              <a:t> is a functional unit in Azure infrastructure, such as storage, VM, IP address, DB, etc. </a:t>
            </a:r>
          </a:p>
          <a:p>
            <a:pPr marL="0" indent="0">
              <a:buNone/>
            </a:pPr>
            <a:endParaRPr lang="en-US" sz="2400" dirty="0">
              <a:latin typeface="+mn-lt"/>
            </a:endParaRPr>
          </a:p>
          <a:p>
            <a:pPr marL="0" indent="0">
              <a:buNone/>
            </a:pPr>
            <a:r>
              <a:rPr lang="en-US" sz="2400" dirty="0">
                <a:solidFill>
                  <a:srgbClr val="0070C0"/>
                </a:solidFill>
                <a:latin typeface="+mn-lt"/>
              </a:rPr>
              <a:t>Resource group </a:t>
            </a:r>
            <a:r>
              <a:rPr lang="en-US" sz="2400" dirty="0">
                <a:latin typeface="+mn-lt"/>
              </a:rPr>
              <a:t>constitutes a collection of resources that support an application or workload</a:t>
            </a:r>
          </a:p>
          <a:p>
            <a:pPr marL="0" indent="0">
              <a:buNone/>
            </a:pPr>
            <a:endParaRPr lang="en-US" sz="2400" dirty="0">
              <a:latin typeface="+mn-lt"/>
            </a:endParaRPr>
          </a:p>
          <a:p>
            <a:pPr marL="0" indent="0">
              <a:buNone/>
            </a:pPr>
            <a:r>
              <a:rPr lang="en-US" sz="2400" dirty="0">
                <a:solidFill>
                  <a:srgbClr val="0070C0"/>
                </a:solidFill>
                <a:latin typeface="+mn-lt"/>
              </a:rPr>
              <a:t>Resource provider </a:t>
            </a:r>
            <a:r>
              <a:rPr lang="en-US" sz="2400" dirty="0">
                <a:latin typeface="+mn-lt"/>
              </a:rPr>
              <a:t>(RP) creates and manages resources of specific class. For example:</a:t>
            </a:r>
          </a:p>
          <a:p>
            <a:r>
              <a:rPr lang="en-US" sz="2400" dirty="0">
                <a:latin typeface="+mn-lt"/>
              </a:rPr>
              <a:t>Storage RP – Storage Account, </a:t>
            </a:r>
          </a:p>
          <a:p>
            <a:r>
              <a:rPr lang="en-US" sz="2400" dirty="0">
                <a:latin typeface="+mn-lt"/>
              </a:rPr>
              <a:t>Disk RP - Managed Disk</a:t>
            </a:r>
          </a:p>
          <a:p>
            <a:r>
              <a:rPr lang="en-US" sz="2400" dirty="0">
                <a:latin typeface="+mn-lt"/>
              </a:rPr>
              <a:t>Network RP – IP Address, VNET, Load Balancer</a:t>
            </a:r>
          </a:p>
          <a:p>
            <a:r>
              <a:rPr lang="en-US" sz="2400" dirty="0">
                <a:latin typeface="+mn-lt"/>
              </a:rPr>
              <a:t>Compute RP – VM, VM Scale Set, VM Availability Set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74639" y="295275"/>
            <a:ext cx="11889564" cy="763587"/>
          </a:xfrm>
        </p:spPr>
        <p:txBody>
          <a:bodyPr/>
          <a:lstStyle/>
          <a:p>
            <a:pPr algn="ctr"/>
            <a:r>
              <a:rPr lang="en-US" sz="3200" b="1" dirty="0">
                <a:latin typeface="Verdana" panose="020B0604030504040204" pitchFamily="34" charset="0"/>
                <a:ea typeface="Verdana" panose="020B0604030504040204" pitchFamily="34" charset="0"/>
                <a:cs typeface="Aharoni" panose="02010803020104030203" pitchFamily="2" charset="-79"/>
              </a:rPr>
              <a:t>Provisioning resources in ARM</a:t>
            </a:r>
          </a:p>
        </p:txBody>
      </p:sp>
    </p:spTree>
    <p:extLst>
      <p:ext uri="{BB962C8B-B14F-4D97-AF65-F5344CB8AC3E}">
        <p14:creationId xmlns:p14="http://schemas.microsoft.com/office/powerpoint/2010/main" val="2823450061"/>
      </p:ext>
    </p:extLst>
  </p:cSld>
  <p:clrMapOvr>
    <a:masterClrMapping/>
  </p:clrMapOvr>
  <p:transition>
    <p:fade/>
  </p:transition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2">
            <a:extLst>
              <a:ext uri="{FF2B5EF4-FFF2-40B4-BE49-F238E27FC236}">
                <a16:creationId xmlns:a16="http://schemas.microsoft.com/office/drawing/2014/main" id="{39401DC4-CCCE-40F2-8324-9EF5CB65F81B}"/>
              </a:ext>
            </a:extLst>
          </p:cNvPr>
          <p:cNvSpPr txBox="1">
            <a:spLocks/>
          </p:cNvSpPr>
          <p:nvPr/>
        </p:nvSpPr>
        <p:spPr>
          <a:xfrm>
            <a:off x="274637" y="-7938"/>
            <a:ext cx="11889564" cy="304800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>
            <a:lvl1pPr algn="l" defTabSz="9325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799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ctr"/>
            <a:r>
              <a:rPr lang="en-US" sz="1800" b="1" dirty="0">
                <a:latin typeface="Verdana" panose="020B0604030504040204" pitchFamily="34" charset="0"/>
                <a:ea typeface="Verdana" panose="020B0604030504040204" pitchFamily="34" charset="0"/>
                <a:cs typeface="Aharoni" panose="02010803020104030203" pitchFamily="2" charset="-79"/>
              </a:rPr>
              <a:t>Demo: cluster deployment (cont.)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F5D9415F-DCE8-4EDC-876C-2C44AC44E3A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2193" y="430164"/>
            <a:ext cx="12192089" cy="6572298"/>
          </a:xfrm>
          <a:prstGeom prst="rect">
            <a:avLst/>
          </a:prstGeom>
        </p:spPr>
      </p:pic>
      <p:sp>
        <p:nvSpPr>
          <p:cNvPr id="4" name="Oval 3">
            <a:extLst>
              <a:ext uri="{FF2B5EF4-FFF2-40B4-BE49-F238E27FC236}">
                <a16:creationId xmlns:a16="http://schemas.microsoft.com/office/drawing/2014/main" id="{589C5883-47F0-4DDD-B281-784C69C4CC21}"/>
              </a:ext>
            </a:extLst>
          </p:cNvPr>
          <p:cNvSpPr/>
          <p:nvPr/>
        </p:nvSpPr>
        <p:spPr bwMode="auto">
          <a:xfrm>
            <a:off x="5837237" y="4183062"/>
            <a:ext cx="533400" cy="381000"/>
          </a:xfrm>
          <a:prstGeom prst="ellipse">
            <a:avLst/>
          </a:prstGeom>
          <a:noFill/>
          <a:ln>
            <a:solidFill>
              <a:srgbClr val="C0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84011B39-89D4-4FEC-9082-0FB649DFF287}"/>
              </a:ext>
            </a:extLst>
          </p:cNvPr>
          <p:cNvSpPr/>
          <p:nvPr/>
        </p:nvSpPr>
        <p:spPr bwMode="auto">
          <a:xfrm>
            <a:off x="2789237" y="1287462"/>
            <a:ext cx="533400" cy="381000"/>
          </a:xfrm>
          <a:prstGeom prst="ellipse">
            <a:avLst/>
          </a:prstGeom>
          <a:noFill/>
          <a:ln>
            <a:solidFill>
              <a:srgbClr val="C0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58473252"/>
      </p:ext>
    </p:extLst>
  </p:cSld>
  <p:clrMapOvr>
    <a:masterClrMapping/>
  </p:clrMapOvr>
  <p:transition>
    <p:fade/>
  </p:transition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2">
            <a:extLst>
              <a:ext uri="{FF2B5EF4-FFF2-40B4-BE49-F238E27FC236}">
                <a16:creationId xmlns:a16="http://schemas.microsoft.com/office/drawing/2014/main" id="{39401DC4-CCCE-40F2-8324-9EF5CB65F81B}"/>
              </a:ext>
            </a:extLst>
          </p:cNvPr>
          <p:cNvSpPr txBox="1">
            <a:spLocks/>
          </p:cNvSpPr>
          <p:nvPr/>
        </p:nvSpPr>
        <p:spPr>
          <a:xfrm>
            <a:off x="274637" y="-7938"/>
            <a:ext cx="11889564" cy="304800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>
            <a:lvl1pPr algn="l" defTabSz="9325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799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ctr"/>
            <a:r>
              <a:rPr lang="en-US" sz="1800" b="1" dirty="0">
                <a:latin typeface="Verdana" panose="020B0604030504040204" pitchFamily="34" charset="0"/>
                <a:ea typeface="Verdana" panose="020B0604030504040204" pitchFamily="34" charset="0"/>
                <a:cs typeface="Aharoni" panose="02010803020104030203" pitchFamily="2" charset="-79"/>
              </a:rPr>
              <a:t>Demo: cluster deployment (cont.)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D3CEC603-BDCC-4B82-9031-57F6330684E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2193" y="430164"/>
            <a:ext cx="12192089" cy="65722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2904585"/>
      </p:ext>
    </p:extLst>
  </p:cSld>
  <p:clrMapOvr>
    <a:masterClrMapping/>
  </p:clrMapOvr>
  <p:transition>
    <p:fade/>
  </p:transition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2">
            <a:extLst>
              <a:ext uri="{FF2B5EF4-FFF2-40B4-BE49-F238E27FC236}">
                <a16:creationId xmlns:a16="http://schemas.microsoft.com/office/drawing/2014/main" id="{39401DC4-CCCE-40F2-8324-9EF5CB65F81B}"/>
              </a:ext>
            </a:extLst>
          </p:cNvPr>
          <p:cNvSpPr txBox="1">
            <a:spLocks/>
          </p:cNvSpPr>
          <p:nvPr/>
        </p:nvSpPr>
        <p:spPr>
          <a:xfrm>
            <a:off x="274637" y="-7938"/>
            <a:ext cx="11889564" cy="304800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>
            <a:lvl1pPr algn="l" defTabSz="9325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799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ctr"/>
            <a:r>
              <a:rPr lang="en-US" sz="1800" b="1" dirty="0">
                <a:latin typeface="Verdana" panose="020B0604030504040204" pitchFamily="34" charset="0"/>
                <a:ea typeface="Verdana" panose="020B0604030504040204" pitchFamily="34" charset="0"/>
                <a:cs typeface="Aharoni" panose="02010803020104030203" pitchFamily="2" charset="-79"/>
              </a:rPr>
              <a:t>Demo: cluster deployment (cont.)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189F6013-2065-4CAE-BD1B-34236FEBE30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2193" y="430164"/>
            <a:ext cx="12192089" cy="65722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4798524"/>
      </p:ext>
    </p:extLst>
  </p:cSld>
  <p:clrMapOvr>
    <a:masterClrMapping/>
  </p:clrMapOvr>
  <p:transition>
    <p:fade/>
  </p:transition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2">
            <a:extLst>
              <a:ext uri="{FF2B5EF4-FFF2-40B4-BE49-F238E27FC236}">
                <a16:creationId xmlns:a16="http://schemas.microsoft.com/office/drawing/2014/main" id="{39401DC4-CCCE-40F2-8324-9EF5CB65F81B}"/>
              </a:ext>
            </a:extLst>
          </p:cNvPr>
          <p:cNvSpPr txBox="1">
            <a:spLocks/>
          </p:cNvSpPr>
          <p:nvPr/>
        </p:nvSpPr>
        <p:spPr>
          <a:xfrm>
            <a:off x="274637" y="-7938"/>
            <a:ext cx="11889564" cy="304800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>
            <a:lvl1pPr algn="l" defTabSz="9325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799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ctr"/>
            <a:r>
              <a:rPr lang="en-US" sz="1800" b="1" dirty="0">
                <a:latin typeface="Verdana" panose="020B0604030504040204" pitchFamily="34" charset="0"/>
                <a:ea typeface="Verdana" panose="020B0604030504040204" pitchFamily="34" charset="0"/>
                <a:cs typeface="Aharoni" panose="02010803020104030203" pitchFamily="2" charset="-79"/>
              </a:rPr>
              <a:t>Demo: marathon apps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73945FF-5E64-4D2B-9065-06E8F33289C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3237" y="349845"/>
            <a:ext cx="8204364" cy="664468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C02659D-9A38-4E52-9F72-B875A42ECE8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395873" y="349845"/>
            <a:ext cx="8204364" cy="6644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3006323"/>
      </p:ext>
    </p:extLst>
  </p:cSld>
  <p:clrMapOvr>
    <a:masterClrMapping/>
  </p:clrMapOvr>
  <p:transition>
    <p:fade/>
  </p:transition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2">
            <a:extLst>
              <a:ext uri="{FF2B5EF4-FFF2-40B4-BE49-F238E27FC236}">
                <a16:creationId xmlns:a16="http://schemas.microsoft.com/office/drawing/2014/main" id="{39401DC4-CCCE-40F2-8324-9EF5CB65F81B}"/>
              </a:ext>
            </a:extLst>
          </p:cNvPr>
          <p:cNvSpPr txBox="1">
            <a:spLocks/>
          </p:cNvSpPr>
          <p:nvPr/>
        </p:nvSpPr>
        <p:spPr>
          <a:xfrm>
            <a:off x="274637" y="-7938"/>
            <a:ext cx="11889564" cy="304800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>
            <a:lvl1pPr algn="l" defTabSz="9325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799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ctr"/>
            <a:r>
              <a:rPr lang="en-US" sz="1800" b="1" dirty="0">
                <a:latin typeface="Verdana" panose="020B0604030504040204" pitchFamily="34" charset="0"/>
                <a:ea typeface="Verdana" panose="020B0604030504040204" pitchFamily="34" charset="0"/>
                <a:cs typeface="Aharoni" panose="02010803020104030203" pitchFamily="2" charset="-79"/>
              </a:rPr>
              <a:t>Demo: marathon apps (cont.)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101A54A-739D-41D0-86EB-F3FE819BF4A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2193" y="430164"/>
            <a:ext cx="12192089" cy="65722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9413258"/>
      </p:ext>
    </p:extLst>
  </p:cSld>
  <p:clrMapOvr>
    <a:masterClrMapping/>
  </p:clrMapOvr>
  <p:transition>
    <p:fade/>
  </p:transition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2">
            <a:extLst>
              <a:ext uri="{FF2B5EF4-FFF2-40B4-BE49-F238E27FC236}">
                <a16:creationId xmlns:a16="http://schemas.microsoft.com/office/drawing/2014/main" id="{39401DC4-CCCE-40F2-8324-9EF5CB65F81B}"/>
              </a:ext>
            </a:extLst>
          </p:cNvPr>
          <p:cNvSpPr txBox="1">
            <a:spLocks/>
          </p:cNvSpPr>
          <p:nvPr/>
        </p:nvSpPr>
        <p:spPr>
          <a:xfrm>
            <a:off x="274637" y="-7938"/>
            <a:ext cx="11889564" cy="304800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>
            <a:lvl1pPr algn="l" defTabSz="9325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799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ctr"/>
            <a:r>
              <a:rPr lang="en-US" sz="1800" b="1" dirty="0">
                <a:latin typeface="Verdana" panose="020B0604030504040204" pitchFamily="34" charset="0"/>
                <a:ea typeface="Verdana" panose="020B0604030504040204" pitchFamily="34" charset="0"/>
                <a:cs typeface="Aharoni" panose="02010803020104030203" pitchFamily="2" charset="-79"/>
              </a:rPr>
              <a:t>Demo: DC/OS upgrad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5297BFDC-DE90-4F7D-83AD-7CB180983A1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2193" y="430164"/>
            <a:ext cx="12192089" cy="65722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5932834"/>
      </p:ext>
    </p:extLst>
  </p:cSld>
  <p:clrMapOvr>
    <a:masterClrMapping/>
  </p:clrMapOvr>
  <p:transition>
    <p:fade/>
  </p:transition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2">
            <a:extLst>
              <a:ext uri="{FF2B5EF4-FFF2-40B4-BE49-F238E27FC236}">
                <a16:creationId xmlns:a16="http://schemas.microsoft.com/office/drawing/2014/main" id="{39401DC4-CCCE-40F2-8324-9EF5CB65F81B}"/>
              </a:ext>
            </a:extLst>
          </p:cNvPr>
          <p:cNvSpPr txBox="1">
            <a:spLocks/>
          </p:cNvSpPr>
          <p:nvPr/>
        </p:nvSpPr>
        <p:spPr>
          <a:xfrm>
            <a:off x="274637" y="-7938"/>
            <a:ext cx="11889564" cy="304800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>
            <a:lvl1pPr algn="l" defTabSz="9325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799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ctr"/>
            <a:r>
              <a:rPr lang="en-US" sz="1800" b="1" dirty="0">
                <a:latin typeface="Verdana" panose="020B0604030504040204" pitchFamily="34" charset="0"/>
                <a:ea typeface="Verdana" panose="020B0604030504040204" pitchFamily="34" charset="0"/>
                <a:cs typeface="Aharoni" panose="02010803020104030203" pitchFamily="2" charset="-79"/>
              </a:rPr>
              <a:t>Demo: DC/OS upgrade (cont.)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F4EB3358-6FED-4C20-992A-C2AC7B7718C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6523" y="601662"/>
            <a:ext cx="11957336" cy="72865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8853217"/>
      </p:ext>
    </p:extLst>
  </p:cSld>
  <p:clrMapOvr>
    <a:masterClrMapping/>
  </p:clrMapOvr>
  <p:transition>
    <p:fade/>
  </p:transition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2">
            <a:extLst>
              <a:ext uri="{FF2B5EF4-FFF2-40B4-BE49-F238E27FC236}">
                <a16:creationId xmlns:a16="http://schemas.microsoft.com/office/drawing/2014/main" id="{39401DC4-CCCE-40F2-8324-9EF5CB65F81B}"/>
              </a:ext>
            </a:extLst>
          </p:cNvPr>
          <p:cNvSpPr txBox="1">
            <a:spLocks/>
          </p:cNvSpPr>
          <p:nvPr/>
        </p:nvSpPr>
        <p:spPr>
          <a:xfrm>
            <a:off x="274637" y="-7938"/>
            <a:ext cx="11889564" cy="304800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>
            <a:lvl1pPr algn="l" defTabSz="9325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799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ctr"/>
            <a:r>
              <a:rPr lang="en-US" sz="1800" b="1" dirty="0">
                <a:latin typeface="Verdana" panose="020B0604030504040204" pitchFamily="34" charset="0"/>
                <a:ea typeface="Verdana" panose="020B0604030504040204" pitchFamily="34" charset="0"/>
                <a:cs typeface="Aharoni" panose="02010803020104030203" pitchFamily="2" charset="-79"/>
              </a:rPr>
              <a:t>Demo: DC/OS upgrade (cont.)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99DF0689-1FB8-4B79-AD84-893AA1940C8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2193" y="430164"/>
            <a:ext cx="12192089" cy="65722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1058104"/>
      </p:ext>
    </p:extLst>
  </p:cSld>
  <p:clrMapOvr>
    <a:masterClrMapping/>
  </p:clrMapOvr>
  <p:transition>
    <p:fade/>
  </p:transition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2">
            <a:extLst>
              <a:ext uri="{FF2B5EF4-FFF2-40B4-BE49-F238E27FC236}">
                <a16:creationId xmlns:a16="http://schemas.microsoft.com/office/drawing/2014/main" id="{39401DC4-CCCE-40F2-8324-9EF5CB65F81B}"/>
              </a:ext>
            </a:extLst>
          </p:cNvPr>
          <p:cNvSpPr txBox="1">
            <a:spLocks/>
          </p:cNvSpPr>
          <p:nvPr/>
        </p:nvSpPr>
        <p:spPr>
          <a:xfrm>
            <a:off x="274637" y="-7938"/>
            <a:ext cx="11889564" cy="304800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>
            <a:lvl1pPr algn="l" defTabSz="9325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799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ctr"/>
            <a:r>
              <a:rPr lang="en-US" sz="1800" b="1" dirty="0">
                <a:latin typeface="Verdana" panose="020B0604030504040204" pitchFamily="34" charset="0"/>
                <a:ea typeface="Verdana" panose="020B0604030504040204" pitchFamily="34" charset="0"/>
                <a:cs typeface="Aharoni" panose="02010803020104030203" pitchFamily="2" charset="-79"/>
              </a:rPr>
              <a:t>Demo: DC/OS upgrade (cont.)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295FECCB-311D-4110-B37F-BEC6B09E990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2193" y="430164"/>
            <a:ext cx="12192089" cy="65722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5358876"/>
      </p:ext>
    </p:extLst>
  </p:cSld>
  <p:clrMapOvr>
    <a:masterClrMapping/>
  </p:clrMapOvr>
  <p:transition>
    <p:fade/>
  </p:transition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2">
            <a:extLst>
              <a:ext uri="{FF2B5EF4-FFF2-40B4-BE49-F238E27FC236}">
                <a16:creationId xmlns:a16="http://schemas.microsoft.com/office/drawing/2014/main" id="{39401DC4-CCCE-40F2-8324-9EF5CB65F81B}"/>
              </a:ext>
            </a:extLst>
          </p:cNvPr>
          <p:cNvSpPr txBox="1">
            <a:spLocks/>
          </p:cNvSpPr>
          <p:nvPr/>
        </p:nvSpPr>
        <p:spPr>
          <a:xfrm>
            <a:off x="274637" y="-7938"/>
            <a:ext cx="11889564" cy="304800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>
            <a:lvl1pPr algn="l" defTabSz="9325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799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ctr"/>
            <a:r>
              <a:rPr lang="en-US" sz="1800" b="1" dirty="0">
                <a:latin typeface="Verdana" panose="020B0604030504040204" pitchFamily="34" charset="0"/>
                <a:ea typeface="Verdana" panose="020B0604030504040204" pitchFamily="34" charset="0"/>
                <a:cs typeface="Aharoni" panose="02010803020104030203" pitchFamily="2" charset="-79"/>
              </a:rPr>
              <a:t>Demo: DC/OS upgrade (cont.)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CD5E429F-706B-4999-B2AD-718733838BF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2193" y="430164"/>
            <a:ext cx="12192089" cy="6572298"/>
          </a:xfrm>
          <a:prstGeom prst="rect">
            <a:avLst/>
          </a:prstGeom>
        </p:spPr>
      </p:pic>
      <p:sp>
        <p:nvSpPr>
          <p:cNvPr id="4" name="Oval 3">
            <a:extLst>
              <a:ext uri="{FF2B5EF4-FFF2-40B4-BE49-F238E27FC236}">
                <a16:creationId xmlns:a16="http://schemas.microsoft.com/office/drawing/2014/main" id="{5E8AA761-46D7-4450-99B5-F10B16F7EB8A}"/>
              </a:ext>
            </a:extLst>
          </p:cNvPr>
          <p:cNvSpPr/>
          <p:nvPr/>
        </p:nvSpPr>
        <p:spPr bwMode="auto">
          <a:xfrm>
            <a:off x="5989637" y="2811462"/>
            <a:ext cx="609600" cy="381000"/>
          </a:xfrm>
          <a:prstGeom prst="ellipse">
            <a:avLst/>
          </a:prstGeom>
          <a:noFill/>
          <a:ln>
            <a:solidFill>
              <a:srgbClr val="C0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04050905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accent1">
                <a:lumMod val="5000"/>
                <a:lumOff val="95000"/>
              </a:schemeClr>
            </a:gs>
            <a:gs pos="74000">
              <a:schemeClr val="accent1">
                <a:lumMod val="45000"/>
                <a:lumOff val="55000"/>
              </a:schemeClr>
            </a:gs>
            <a:gs pos="83000">
              <a:schemeClr val="accent1">
                <a:lumMod val="45000"/>
                <a:lumOff val="55000"/>
              </a:schemeClr>
            </a:gs>
            <a:gs pos="100000">
              <a:schemeClr val="accent1">
                <a:lumMod val="30000"/>
                <a:lumOff val="70000"/>
              </a:schemeClr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2"/>
          <p:cNvSpPr>
            <a:spLocks noGrp="1"/>
          </p:cNvSpPr>
          <p:nvPr>
            <p:ph type="title"/>
          </p:nvPr>
        </p:nvSpPr>
        <p:spPr>
          <a:xfrm>
            <a:off x="274639" y="295275"/>
            <a:ext cx="11889564" cy="917575"/>
          </a:xfrm>
        </p:spPr>
        <p:txBody>
          <a:bodyPr/>
          <a:lstStyle/>
          <a:p>
            <a:pPr algn="ctr"/>
            <a:r>
              <a:rPr lang="en-US" sz="3200" b="1" dirty="0">
                <a:latin typeface="Verdana" panose="020B0604030504040204" pitchFamily="34" charset="0"/>
                <a:ea typeface="Verdana" panose="020B0604030504040204" pitchFamily="34" charset="0"/>
                <a:cs typeface="Aharoni" panose="02010803020104030203" pitchFamily="2" charset="-79"/>
              </a:rPr>
              <a:t>Provisioning resources in ARM (cont.)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93837" y="1363662"/>
            <a:ext cx="8571271" cy="50732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4693863"/>
      </p:ext>
    </p:extLst>
  </p:cSld>
  <p:clrMapOvr>
    <a:masterClrMapping/>
  </p:clrMapOvr>
  <p:transition>
    <p:fade/>
  </p:transition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2">
            <a:extLst>
              <a:ext uri="{FF2B5EF4-FFF2-40B4-BE49-F238E27FC236}">
                <a16:creationId xmlns:a16="http://schemas.microsoft.com/office/drawing/2014/main" id="{39401DC4-CCCE-40F2-8324-9EF5CB65F81B}"/>
              </a:ext>
            </a:extLst>
          </p:cNvPr>
          <p:cNvSpPr txBox="1">
            <a:spLocks/>
          </p:cNvSpPr>
          <p:nvPr/>
        </p:nvSpPr>
        <p:spPr>
          <a:xfrm>
            <a:off x="274637" y="-7938"/>
            <a:ext cx="11889564" cy="304800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>
            <a:lvl1pPr algn="l" defTabSz="9325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799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ctr"/>
            <a:r>
              <a:rPr lang="en-US" sz="1800" b="1" dirty="0">
                <a:latin typeface="Verdana" panose="020B0604030504040204" pitchFamily="34" charset="0"/>
                <a:ea typeface="Verdana" panose="020B0604030504040204" pitchFamily="34" charset="0"/>
                <a:cs typeface="Aharoni" panose="02010803020104030203" pitchFamily="2" charset="-79"/>
              </a:rPr>
              <a:t>Demo: DC/OS upgrade (cont.)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8B3EC0F-736C-4EDF-8681-FC55775BEE0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2193" y="430164"/>
            <a:ext cx="12192089" cy="65722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6696089"/>
      </p:ext>
    </p:extLst>
  </p:cSld>
  <p:clrMapOvr>
    <a:masterClrMapping/>
  </p:clrMapOvr>
  <p:transition>
    <p:fade/>
  </p:transition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2">
            <a:extLst>
              <a:ext uri="{FF2B5EF4-FFF2-40B4-BE49-F238E27FC236}">
                <a16:creationId xmlns:a16="http://schemas.microsoft.com/office/drawing/2014/main" id="{39401DC4-CCCE-40F2-8324-9EF5CB65F81B}"/>
              </a:ext>
            </a:extLst>
          </p:cNvPr>
          <p:cNvSpPr txBox="1">
            <a:spLocks/>
          </p:cNvSpPr>
          <p:nvPr/>
        </p:nvSpPr>
        <p:spPr>
          <a:xfrm>
            <a:off x="274637" y="-7938"/>
            <a:ext cx="11889564" cy="304800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>
            <a:lvl1pPr algn="l" defTabSz="9325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799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ctr"/>
            <a:r>
              <a:rPr lang="en-US" sz="1800" b="1" dirty="0">
                <a:latin typeface="Verdana" panose="020B0604030504040204" pitchFamily="34" charset="0"/>
                <a:ea typeface="Verdana" panose="020B0604030504040204" pitchFamily="34" charset="0"/>
                <a:cs typeface="Aharoni" panose="02010803020104030203" pitchFamily="2" charset="-79"/>
              </a:rPr>
              <a:t>Demo: DC/OS upgrade (cont.)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CA6465B9-C3B9-4CFB-A9F8-A07BB5DB1D4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2193" y="430164"/>
            <a:ext cx="12192089" cy="65722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4333230"/>
      </p:ext>
    </p:extLst>
  </p:cSld>
  <p:clrMapOvr>
    <a:masterClrMapping/>
  </p:clrMapOvr>
  <p:transition>
    <p:fade/>
  </p:transition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2">
            <a:extLst>
              <a:ext uri="{FF2B5EF4-FFF2-40B4-BE49-F238E27FC236}">
                <a16:creationId xmlns:a16="http://schemas.microsoft.com/office/drawing/2014/main" id="{39401DC4-CCCE-40F2-8324-9EF5CB65F81B}"/>
              </a:ext>
            </a:extLst>
          </p:cNvPr>
          <p:cNvSpPr txBox="1">
            <a:spLocks/>
          </p:cNvSpPr>
          <p:nvPr/>
        </p:nvSpPr>
        <p:spPr>
          <a:xfrm>
            <a:off x="274637" y="-7938"/>
            <a:ext cx="11889564" cy="304800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>
            <a:lvl1pPr algn="l" defTabSz="9325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799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ctr"/>
            <a:r>
              <a:rPr lang="en-US" sz="1800" b="1" dirty="0">
                <a:latin typeface="Verdana" panose="020B0604030504040204" pitchFamily="34" charset="0"/>
                <a:ea typeface="Verdana" panose="020B0604030504040204" pitchFamily="34" charset="0"/>
                <a:cs typeface="Aharoni" panose="02010803020104030203" pitchFamily="2" charset="-79"/>
              </a:rPr>
              <a:t>Demo: scaling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B7B4F723-86CA-4510-AC91-8B59CC02492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2193" y="430164"/>
            <a:ext cx="12192089" cy="65722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3035701"/>
      </p:ext>
    </p:extLst>
  </p:cSld>
  <p:clrMapOvr>
    <a:masterClrMapping/>
  </p:clrMapOvr>
  <p:transition>
    <p:fade/>
  </p:transition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2">
            <a:extLst>
              <a:ext uri="{FF2B5EF4-FFF2-40B4-BE49-F238E27FC236}">
                <a16:creationId xmlns:a16="http://schemas.microsoft.com/office/drawing/2014/main" id="{39401DC4-CCCE-40F2-8324-9EF5CB65F81B}"/>
              </a:ext>
            </a:extLst>
          </p:cNvPr>
          <p:cNvSpPr txBox="1">
            <a:spLocks/>
          </p:cNvSpPr>
          <p:nvPr/>
        </p:nvSpPr>
        <p:spPr>
          <a:xfrm>
            <a:off x="274637" y="-7938"/>
            <a:ext cx="11889564" cy="304800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>
            <a:lvl1pPr algn="l" defTabSz="9325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799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ctr"/>
            <a:r>
              <a:rPr lang="en-US" sz="1800" b="1" dirty="0">
                <a:latin typeface="Verdana" panose="020B0604030504040204" pitchFamily="34" charset="0"/>
                <a:ea typeface="Verdana" panose="020B0604030504040204" pitchFamily="34" charset="0"/>
                <a:cs typeface="Aharoni" panose="02010803020104030203" pitchFamily="2" charset="-79"/>
              </a:rPr>
              <a:t>Demo: scaling (cont.)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85B1DC4F-C509-431D-BCFD-5122BE7C7A7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2193" y="430164"/>
            <a:ext cx="12192089" cy="65722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9104639"/>
      </p:ext>
    </p:extLst>
  </p:cSld>
  <p:clrMapOvr>
    <a:masterClrMapping/>
  </p:clrMapOvr>
  <p:transition>
    <p:fade/>
  </p:transition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2">
            <a:extLst>
              <a:ext uri="{FF2B5EF4-FFF2-40B4-BE49-F238E27FC236}">
                <a16:creationId xmlns:a16="http://schemas.microsoft.com/office/drawing/2014/main" id="{39401DC4-CCCE-40F2-8324-9EF5CB65F81B}"/>
              </a:ext>
            </a:extLst>
          </p:cNvPr>
          <p:cNvSpPr txBox="1">
            <a:spLocks/>
          </p:cNvSpPr>
          <p:nvPr/>
        </p:nvSpPr>
        <p:spPr>
          <a:xfrm>
            <a:off x="274637" y="-7938"/>
            <a:ext cx="11889564" cy="304800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>
            <a:lvl1pPr algn="l" defTabSz="9325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799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ctr"/>
            <a:r>
              <a:rPr lang="en-US" sz="1800" b="1" dirty="0">
                <a:latin typeface="Verdana" panose="020B0604030504040204" pitchFamily="34" charset="0"/>
                <a:ea typeface="Verdana" panose="020B0604030504040204" pitchFamily="34" charset="0"/>
                <a:cs typeface="Aharoni" panose="02010803020104030203" pitchFamily="2" charset="-79"/>
              </a:rPr>
              <a:t>Demo: scaling (cont.)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E5E15987-DC3E-4E7B-989C-98F305D98CA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2193" y="430164"/>
            <a:ext cx="12192089" cy="65722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6494253"/>
      </p:ext>
    </p:extLst>
  </p:cSld>
  <p:clrMapOvr>
    <a:masterClrMapping/>
  </p:clrMapOvr>
  <p:transition>
    <p:fade/>
  </p:transition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2">
            <a:extLst>
              <a:ext uri="{FF2B5EF4-FFF2-40B4-BE49-F238E27FC236}">
                <a16:creationId xmlns:a16="http://schemas.microsoft.com/office/drawing/2014/main" id="{39401DC4-CCCE-40F2-8324-9EF5CB65F81B}"/>
              </a:ext>
            </a:extLst>
          </p:cNvPr>
          <p:cNvSpPr txBox="1">
            <a:spLocks/>
          </p:cNvSpPr>
          <p:nvPr/>
        </p:nvSpPr>
        <p:spPr>
          <a:xfrm>
            <a:off x="274637" y="-7938"/>
            <a:ext cx="11889564" cy="304800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>
            <a:lvl1pPr algn="l" defTabSz="9325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799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ctr"/>
            <a:r>
              <a:rPr lang="en-US" sz="1800" b="1" dirty="0">
                <a:latin typeface="Verdana" panose="020B0604030504040204" pitchFamily="34" charset="0"/>
                <a:ea typeface="Verdana" panose="020B0604030504040204" pitchFamily="34" charset="0"/>
                <a:cs typeface="Aharoni" panose="02010803020104030203" pitchFamily="2" charset="-79"/>
              </a:rPr>
              <a:t>Demo: scaling (cont.)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4BAF7EB9-B154-494A-B7AC-7DFB1828CA4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2193" y="430164"/>
            <a:ext cx="12192089" cy="65722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8795580"/>
      </p:ext>
    </p:extLst>
  </p:cSld>
  <p:clrMapOvr>
    <a:masterClrMapping/>
  </p:clrMapOvr>
  <p:transition>
    <p:fade/>
  </p:transition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accent1">
                <a:lumMod val="5000"/>
                <a:lumOff val="95000"/>
              </a:schemeClr>
            </a:gs>
            <a:gs pos="74000">
              <a:schemeClr val="accent1">
                <a:lumMod val="45000"/>
                <a:lumOff val="55000"/>
              </a:schemeClr>
            </a:gs>
            <a:gs pos="83000">
              <a:schemeClr val="accent1">
                <a:lumMod val="45000"/>
                <a:lumOff val="55000"/>
              </a:schemeClr>
            </a:gs>
            <a:gs pos="100000">
              <a:schemeClr val="accent1">
                <a:lumMod val="30000"/>
                <a:lumOff val="70000"/>
              </a:schemeClr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2">
            <a:extLst>
              <a:ext uri="{FF2B5EF4-FFF2-40B4-BE49-F238E27FC236}">
                <a16:creationId xmlns:a16="http://schemas.microsoft.com/office/drawing/2014/main" id="{39401DC4-CCCE-40F2-8324-9EF5CB65F81B}"/>
              </a:ext>
            </a:extLst>
          </p:cNvPr>
          <p:cNvSpPr txBox="1">
            <a:spLocks/>
          </p:cNvSpPr>
          <p:nvPr/>
        </p:nvSpPr>
        <p:spPr>
          <a:xfrm>
            <a:off x="274637" y="220662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>
            <a:lvl1pPr algn="l" defTabSz="9325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799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ctr"/>
            <a:r>
              <a:rPr lang="en-US" sz="3200" b="1" dirty="0">
                <a:latin typeface="Verdana" panose="020B0604030504040204" pitchFamily="34" charset="0"/>
                <a:ea typeface="Verdana" panose="020B0604030504040204" pitchFamily="34" charset="0"/>
                <a:cs typeface="Aharoni" panose="02010803020104030203" pitchFamily="2" charset="-79"/>
              </a:rPr>
              <a:t>Going forward …</a:t>
            </a:r>
          </a:p>
        </p:txBody>
      </p:sp>
      <p:sp>
        <p:nvSpPr>
          <p:cNvPr id="11" name="Text Placeholder 1">
            <a:extLst>
              <a:ext uri="{FF2B5EF4-FFF2-40B4-BE49-F238E27FC236}">
                <a16:creationId xmlns:a16="http://schemas.microsoft.com/office/drawing/2014/main" id="{739FA442-6287-43D4-A71E-B422CB3BDCE6}"/>
              </a:ext>
            </a:extLst>
          </p:cNvPr>
          <p:cNvSpPr txBox="1">
            <a:spLocks/>
          </p:cNvSpPr>
          <p:nvPr/>
        </p:nvSpPr>
        <p:spPr>
          <a:xfrm>
            <a:off x="611963" y="1211262"/>
            <a:ext cx="10025874" cy="4572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32742" rtl="0" eaLnBrk="1" latinLnBrk="0" hangingPunct="1">
              <a:defRPr sz="1224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66371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742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99113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65484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31856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98226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64597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30969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66298" lvl="1"/>
            <a:endParaRPr lang="en-US" sz="2400" dirty="0">
              <a:gradFill>
                <a:gsLst>
                  <a:gs pos="1250">
                    <a:schemeClr val="tx1"/>
                  </a:gs>
                  <a:gs pos="100000">
                    <a:schemeClr val="tx1"/>
                  </a:gs>
                </a:gsLst>
                <a:lin ang="5400000" scaled="0"/>
              </a:gradFill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rPr>
              <a:t>Features</a:t>
            </a:r>
          </a:p>
          <a:p>
            <a:pPr marL="809198" lvl="1" indent="-342900">
              <a:buFont typeface="Courier New" panose="02070309020205020404" pitchFamily="49" charset="0"/>
              <a:buChar char="o"/>
            </a:pPr>
            <a:r>
              <a:rPr lang="en-US" sz="240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rPr>
              <a:t>Adding support for upcoming DC/OS releases in </a:t>
            </a:r>
            <a:r>
              <a:rPr lang="en-US" sz="2400" dirty="0" err="1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rPr>
              <a:t>dcos</a:t>
            </a:r>
            <a:r>
              <a:rPr lang="en-US" sz="240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rPr>
              <a:t>-engine</a:t>
            </a:r>
          </a:p>
          <a:p>
            <a:pPr lvl="1"/>
            <a:endParaRPr lang="en-US" sz="2400" dirty="0">
              <a:gradFill>
                <a:gsLst>
                  <a:gs pos="1250">
                    <a:schemeClr val="tx1"/>
                  </a:gs>
                  <a:gs pos="100000">
                    <a:schemeClr val="tx1"/>
                  </a:gs>
                </a:gsLst>
                <a:lin ang="5400000" scaled="0"/>
              </a:gra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80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rPr>
              <a:t>Continue contributing to open source projects</a:t>
            </a:r>
          </a:p>
          <a:p>
            <a:pPr marL="809198" lvl="1" indent="-342900">
              <a:buFont typeface="Courier New" panose="02070309020205020404" pitchFamily="49" charset="0"/>
              <a:buChar char="o"/>
            </a:pPr>
            <a:r>
              <a:rPr lang="en-US" sz="2400" dirty="0">
                <a:hlinkClick r:id="rId3"/>
              </a:rPr>
              <a:t>https://github.com/Azure/dcos-engine</a:t>
            </a:r>
            <a:endParaRPr lang="en-US" sz="2400" dirty="0"/>
          </a:p>
          <a:p>
            <a:pPr marL="809198" lvl="1" indent="-342900">
              <a:buFont typeface="Courier New" panose="02070309020205020404" pitchFamily="49" charset="0"/>
              <a:buChar char="o"/>
            </a:pPr>
            <a:r>
              <a:rPr lang="en-US" sz="2400" dirty="0">
                <a:hlinkClick r:id="rId4"/>
              </a:rPr>
              <a:t>https://github.com/dcos/dcos</a:t>
            </a:r>
            <a:endParaRPr lang="en-US" sz="2400" dirty="0"/>
          </a:p>
          <a:p>
            <a:pPr marL="809198" lvl="1" indent="-342900">
              <a:buFont typeface="Courier New" panose="02070309020205020404" pitchFamily="49" charset="0"/>
              <a:buChar char="o"/>
            </a:pPr>
            <a:r>
              <a:rPr lang="en-US" sz="2400" dirty="0">
                <a:hlinkClick r:id="rId5"/>
              </a:rPr>
              <a:t>https://github.com/dcos/dcos-windows</a:t>
            </a:r>
            <a:endParaRPr lang="en-US" sz="2400" dirty="0"/>
          </a:p>
          <a:p>
            <a:pPr marL="809198" lvl="1" indent="-342900">
              <a:buFont typeface="Courier New" panose="02070309020205020404" pitchFamily="49" charset="0"/>
              <a:buChar char="o"/>
            </a:pPr>
            <a:r>
              <a:rPr lang="en-US" sz="2400" dirty="0">
                <a:hlinkClick r:id="rId6"/>
              </a:rPr>
              <a:t>https://github.com/apache/mesos</a:t>
            </a:r>
            <a:endParaRPr lang="en-US" sz="2400" dirty="0"/>
          </a:p>
          <a:p>
            <a:pPr marL="809198" lvl="1" indent="-342900">
              <a:buFont typeface="Courier New" panose="02070309020205020404" pitchFamily="49" charset="0"/>
              <a:buChar char="o"/>
            </a:pPr>
            <a:endParaRPr lang="en-US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80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rPr>
              <a:t>Continue collaboration with Mesosphere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US" sz="2400" dirty="0">
              <a:gradFill>
                <a:gsLst>
                  <a:gs pos="1250">
                    <a:schemeClr val="tx1"/>
                  </a:gs>
                  <a:gs pos="100000">
                    <a:schemeClr val="tx1"/>
                  </a:gs>
                </a:gsLst>
                <a:lin ang="5400000" scaled="0"/>
              </a:gradFill>
            </a:endParaRPr>
          </a:p>
          <a:p>
            <a:pPr marL="342900" indent="-342900">
              <a:buFontTx/>
              <a:buChar char="-"/>
            </a:pPr>
            <a:endParaRPr lang="en-US" sz="2400" dirty="0">
              <a:gradFill>
                <a:gsLst>
                  <a:gs pos="1250">
                    <a:schemeClr val="tx1"/>
                  </a:gs>
                  <a:gs pos="100000">
                    <a:schemeClr val="tx1"/>
                  </a:gs>
                </a:gsLst>
                <a:lin ang="5400000" scaled="0"/>
              </a:gradFill>
            </a:endParaRPr>
          </a:p>
        </p:txBody>
      </p:sp>
    </p:spTree>
    <p:extLst>
      <p:ext uri="{BB962C8B-B14F-4D97-AF65-F5344CB8AC3E}">
        <p14:creationId xmlns:p14="http://schemas.microsoft.com/office/powerpoint/2010/main" val="3395865078"/>
      </p:ext>
    </p:extLst>
  </p:cSld>
  <p:clrMapOvr>
    <a:masterClrMapping/>
  </p:clrMapOvr>
  <p:transition>
    <p:fade/>
  </p:transition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accent1">
                <a:lumMod val="5000"/>
                <a:lumOff val="95000"/>
              </a:schemeClr>
            </a:gs>
            <a:gs pos="74000">
              <a:schemeClr val="accent1">
                <a:lumMod val="45000"/>
                <a:lumOff val="55000"/>
              </a:schemeClr>
            </a:gs>
            <a:gs pos="83000">
              <a:schemeClr val="accent1">
                <a:lumMod val="45000"/>
                <a:lumOff val="55000"/>
              </a:schemeClr>
            </a:gs>
            <a:gs pos="100000">
              <a:schemeClr val="accent1">
                <a:lumMod val="30000"/>
                <a:lumOff val="70000"/>
              </a:schemeClr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B6289D0B-A015-412E-86B5-7290B122318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31999" y="1058862"/>
            <a:ext cx="2972477" cy="2311927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93E68D4B-5ADA-496A-91B4-4AB21DFF6D4C}"/>
              </a:ext>
            </a:extLst>
          </p:cNvPr>
          <p:cNvSpPr txBox="1"/>
          <p:nvPr/>
        </p:nvSpPr>
        <p:spPr>
          <a:xfrm>
            <a:off x="2103437" y="4792662"/>
            <a:ext cx="906780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>
                <a:hlinkClick r:id="rId4"/>
              </a:rPr>
              <a:t>https://</a:t>
            </a:r>
            <a:r>
              <a:rPr lang="en-US" sz="2400" u="sng">
                <a:hlinkClick r:id="rId5"/>
              </a:rPr>
              <a:t>github.com</a:t>
            </a:r>
            <a:r>
              <a:rPr lang="en-US" sz="2400">
                <a:hlinkClick r:id="rId4"/>
              </a:rPr>
              <a:t>/docs/dcos-engine/dcos-engine.</a:t>
            </a:r>
            <a:r>
              <a:rPr lang="en-US" sz="2400" dirty="0">
                <a:hlinkClick r:id="rId4"/>
              </a:rPr>
              <a:t>pptx</a:t>
            </a:r>
            <a:endParaRPr lang="en-US" sz="2400" dirty="0"/>
          </a:p>
          <a:p>
            <a:endParaRPr lang="en-US" sz="2400" dirty="0"/>
          </a:p>
          <a:p>
            <a:r>
              <a:rPr lang="en-US" sz="2400" u="sng" dirty="0">
                <a:hlinkClick r:id="rId5"/>
              </a:rPr>
              <a:t>https://github.com/Azure/dcos-engine/issues</a:t>
            </a:r>
            <a:endParaRPr lang="en-US" sz="2400" u="sng" dirty="0"/>
          </a:p>
        </p:txBody>
      </p:sp>
    </p:spTree>
    <p:extLst>
      <p:ext uri="{BB962C8B-B14F-4D97-AF65-F5344CB8AC3E}">
        <p14:creationId xmlns:p14="http://schemas.microsoft.com/office/powerpoint/2010/main" val="990960952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accent1">
                <a:lumMod val="5000"/>
                <a:lumOff val="95000"/>
              </a:schemeClr>
            </a:gs>
            <a:gs pos="74000">
              <a:schemeClr val="accent1">
                <a:lumMod val="45000"/>
                <a:lumOff val="55000"/>
              </a:schemeClr>
            </a:gs>
            <a:gs pos="83000">
              <a:schemeClr val="accent1">
                <a:lumMod val="45000"/>
                <a:lumOff val="55000"/>
              </a:schemeClr>
            </a:gs>
            <a:gs pos="100000">
              <a:schemeClr val="accent1">
                <a:lumMod val="30000"/>
                <a:lumOff val="70000"/>
              </a:schemeClr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2"/>
          <p:cNvSpPr>
            <a:spLocks noGrp="1"/>
          </p:cNvSpPr>
          <p:nvPr>
            <p:ph type="title"/>
          </p:nvPr>
        </p:nvSpPr>
        <p:spPr>
          <a:xfrm>
            <a:off x="274639" y="295275"/>
            <a:ext cx="11889564" cy="917575"/>
          </a:xfrm>
        </p:spPr>
        <p:txBody>
          <a:bodyPr/>
          <a:lstStyle/>
          <a:p>
            <a:pPr algn="ctr"/>
            <a:r>
              <a:rPr lang="en-US" sz="3200" b="1" dirty="0">
                <a:latin typeface="Verdana" panose="020B0604030504040204" pitchFamily="34" charset="0"/>
                <a:ea typeface="Verdana" panose="020B0604030504040204" pitchFamily="34" charset="0"/>
                <a:cs typeface="Aharoni" panose="02010803020104030203" pitchFamily="2" charset="-79"/>
              </a:rPr>
              <a:t>Provisioning resources in ARM (cont.)</a:t>
            </a:r>
          </a:p>
        </p:txBody>
      </p:sp>
      <p:sp>
        <p:nvSpPr>
          <p:cNvPr id="6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275481" y="906462"/>
            <a:ext cx="11885514" cy="5343129"/>
          </a:xfrm>
        </p:spPr>
        <p:txBody>
          <a:bodyPr/>
          <a:lstStyle/>
          <a:p>
            <a:pPr marL="0" indent="0" algn="ctr">
              <a:buNone/>
            </a:pPr>
            <a:r>
              <a:rPr lang="en-US" sz="3200" dirty="0">
                <a:solidFill>
                  <a:srgbClr val="0070C0"/>
                </a:solidFill>
              </a:rPr>
              <a:t>ARM clients</a:t>
            </a:r>
            <a:endParaRPr lang="en-US" sz="3200" dirty="0"/>
          </a:p>
          <a:p>
            <a:pPr marL="0" indent="0">
              <a:buNone/>
            </a:pPr>
            <a:endParaRPr lang="en-US" sz="2400" dirty="0">
              <a:solidFill>
                <a:srgbClr val="0070C0"/>
              </a:solidFill>
              <a:latin typeface="+mn-lt"/>
            </a:endParaRPr>
          </a:p>
          <a:p>
            <a:r>
              <a:rPr lang="en-US" sz="2400" dirty="0">
                <a:latin typeface="+mn-lt"/>
              </a:rPr>
              <a:t>Azure Portal</a:t>
            </a:r>
          </a:p>
          <a:p>
            <a:pPr marL="0" indent="0">
              <a:buNone/>
            </a:pPr>
            <a:r>
              <a:rPr lang="en-US" sz="2400" dirty="0">
                <a:latin typeface="+mn-lt"/>
              </a:rPr>
              <a:t>	an easy-to-use graphical UX</a:t>
            </a:r>
          </a:p>
          <a:p>
            <a:r>
              <a:rPr lang="en-US" sz="2400" dirty="0">
                <a:latin typeface="+mn-lt"/>
              </a:rPr>
              <a:t>Azure CLI</a:t>
            </a:r>
          </a:p>
          <a:p>
            <a:pPr marL="0" indent="0">
              <a:buNone/>
            </a:pPr>
            <a:r>
              <a:rPr lang="en-US" sz="2400" dirty="0">
                <a:latin typeface="+mn-lt"/>
              </a:rPr>
              <a:t>	a multiplatform command line interface</a:t>
            </a:r>
          </a:p>
          <a:p>
            <a:r>
              <a:rPr lang="en-US" sz="2400" dirty="0">
                <a:latin typeface="+mn-lt"/>
              </a:rPr>
              <a:t>Azure </a:t>
            </a:r>
            <a:r>
              <a:rPr lang="en-US" sz="2400" dirty="0" err="1">
                <a:latin typeface="+mn-lt"/>
              </a:rPr>
              <a:t>Powershell</a:t>
            </a:r>
            <a:endParaRPr lang="en-US" sz="2400" dirty="0">
              <a:latin typeface="+mn-lt"/>
            </a:endParaRPr>
          </a:p>
          <a:p>
            <a:pPr marL="0" indent="0">
              <a:buNone/>
            </a:pPr>
            <a:r>
              <a:rPr lang="en-US" sz="2400" dirty="0">
                <a:latin typeface="+mn-lt"/>
              </a:rPr>
              <a:t>	a set of cmdlets using ARM model for resource management</a:t>
            </a:r>
          </a:p>
          <a:p>
            <a:r>
              <a:rPr lang="en-US" sz="2400" dirty="0">
                <a:latin typeface="+mn-lt"/>
              </a:rPr>
              <a:t>Azure Cloud Shell</a:t>
            </a:r>
          </a:p>
          <a:p>
            <a:pPr marL="0" indent="0">
              <a:buNone/>
            </a:pPr>
            <a:r>
              <a:rPr lang="en-US" sz="2400" dirty="0">
                <a:latin typeface="+mn-lt"/>
              </a:rPr>
              <a:t>	an authenticated browser based shell tool hosted in the cloud </a:t>
            </a:r>
          </a:p>
          <a:p>
            <a:r>
              <a:rPr lang="en-US" sz="2400" dirty="0">
                <a:latin typeface="+mn-lt"/>
              </a:rPr>
              <a:t>Azure SDK</a:t>
            </a:r>
          </a:p>
          <a:p>
            <a:pPr marL="0" indent="0">
              <a:buNone/>
            </a:pPr>
            <a:r>
              <a:rPr lang="en-US" sz="2400" dirty="0">
                <a:latin typeface="+mn-lt"/>
              </a:rPr>
              <a:t>	.NET, Java, Node, Python, Go, Ruby, PHP, etc.</a:t>
            </a:r>
          </a:p>
          <a:p>
            <a:pPr lvl="1"/>
            <a:endParaRPr lang="en-US" sz="801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666273403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accent1">
                <a:lumMod val="5000"/>
                <a:lumOff val="95000"/>
              </a:schemeClr>
            </a:gs>
            <a:gs pos="74000">
              <a:schemeClr val="accent1">
                <a:lumMod val="45000"/>
                <a:lumOff val="55000"/>
              </a:schemeClr>
            </a:gs>
            <a:gs pos="83000">
              <a:schemeClr val="accent1">
                <a:lumMod val="45000"/>
                <a:lumOff val="55000"/>
              </a:schemeClr>
            </a:gs>
            <a:gs pos="100000">
              <a:schemeClr val="accent1">
                <a:lumMod val="30000"/>
                <a:lumOff val="70000"/>
              </a:schemeClr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2">
            <a:extLst>
              <a:ext uri="{FF2B5EF4-FFF2-40B4-BE49-F238E27FC236}">
                <a16:creationId xmlns:a16="http://schemas.microsoft.com/office/drawing/2014/main" id="{0E9B60D3-A37B-45B7-89F1-5A009A613A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4639" y="295275"/>
            <a:ext cx="11889564" cy="917575"/>
          </a:xfrm>
        </p:spPr>
        <p:txBody>
          <a:bodyPr/>
          <a:lstStyle/>
          <a:p>
            <a:pPr algn="ctr"/>
            <a:r>
              <a:rPr lang="en-US" sz="3200" b="1" dirty="0">
                <a:latin typeface="Verdana" panose="020B0604030504040204" pitchFamily="34" charset="0"/>
                <a:ea typeface="Verdana" panose="020B0604030504040204" pitchFamily="34" charset="0"/>
                <a:cs typeface="Aharoni" panose="02010803020104030203" pitchFamily="2" charset="-79"/>
              </a:rPr>
              <a:t>Provisioning resources in ARM (cont.)</a:t>
            </a:r>
          </a:p>
        </p:txBody>
      </p:sp>
      <p:sp>
        <p:nvSpPr>
          <p:cNvPr id="9" name="Text Placeholder 1">
            <a:extLst>
              <a:ext uri="{FF2B5EF4-FFF2-40B4-BE49-F238E27FC236}">
                <a16:creationId xmlns:a16="http://schemas.microsoft.com/office/drawing/2014/main" id="{17D5AF92-2051-422E-80D4-DC5CA572E3B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75481" y="1213175"/>
            <a:ext cx="11885514" cy="4690515"/>
          </a:xfrm>
        </p:spPr>
        <p:txBody>
          <a:bodyPr/>
          <a:lstStyle/>
          <a:p>
            <a:pPr marL="0" indent="0" algn="ctr">
              <a:buNone/>
            </a:pPr>
            <a:r>
              <a:rPr lang="en-US" sz="3200" dirty="0">
                <a:solidFill>
                  <a:srgbClr val="0070C0"/>
                </a:solidFill>
              </a:rPr>
              <a:t>ARM Template</a:t>
            </a:r>
            <a:endParaRPr lang="en-US" sz="3200" dirty="0"/>
          </a:p>
          <a:p>
            <a:pPr marL="0" indent="0">
              <a:buNone/>
            </a:pPr>
            <a:endParaRPr lang="en-US" sz="2400" dirty="0">
              <a:solidFill>
                <a:srgbClr val="0070C0"/>
              </a:solidFill>
              <a:latin typeface="+mn-lt"/>
            </a:endParaRPr>
          </a:p>
          <a:p>
            <a:pPr>
              <a:lnSpc>
                <a:spcPct val="100000"/>
              </a:lnSpc>
              <a:buFontTx/>
              <a:buChar char="-"/>
            </a:pPr>
            <a:r>
              <a:rPr lang="en-US" sz="2400" dirty="0">
                <a:latin typeface="+mn-lt"/>
              </a:rPr>
              <a:t>Is a JSON file</a:t>
            </a:r>
          </a:p>
          <a:p>
            <a:pPr>
              <a:lnSpc>
                <a:spcPct val="100000"/>
              </a:lnSpc>
              <a:buFontTx/>
              <a:buChar char="-"/>
            </a:pPr>
            <a:r>
              <a:rPr lang="en-US" sz="2400" dirty="0">
                <a:latin typeface="+mn-lt"/>
              </a:rPr>
              <a:t>Is declarative and repeatable</a:t>
            </a:r>
          </a:p>
          <a:p>
            <a:pPr>
              <a:lnSpc>
                <a:spcPct val="100000"/>
              </a:lnSpc>
              <a:buFontTx/>
              <a:buChar char="-"/>
            </a:pPr>
            <a:r>
              <a:rPr lang="en-US" sz="2400" dirty="0">
                <a:latin typeface="+mn-lt"/>
              </a:rPr>
              <a:t>Describes entire topology of the application</a:t>
            </a:r>
          </a:p>
          <a:p>
            <a:pPr>
              <a:lnSpc>
                <a:spcPct val="100000"/>
              </a:lnSpc>
              <a:buFontTx/>
              <a:buChar char="-"/>
            </a:pPr>
            <a:r>
              <a:rPr lang="en-US" sz="2400" dirty="0">
                <a:latin typeface="+mn-lt"/>
              </a:rPr>
              <a:t>Specifies resources, dependencies, and connections</a:t>
            </a:r>
          </a:p>
          <a:p>
            <a:pPr>
              <a:lnSpc>
                <a:spcPct val="100000"/>
              </a:lnSpc>
              <a:buFontTx/>
              <a:buChar char="-"/>
            </a:pPr>
            <a:r>
              <a:rPr lang="en-US" sz="2400" dirty="0">
                <a:latin typeface="+mn-lt"/>
              </a:rPr>
              <a:t>Parametrized input/output</a:t>
            </a:r>
          </a:p>
          <a:p>
            <a:pPr>
              <a:lnSpc>
                <a:spcPct val="100000"/>
              </a:lnSpc>
              <a:buFontTx/>
              <a:buChar char="-"/>
            </a:pPr>
            <a:r>
              <a:rPr lang="en-US" sz="2400" dirty="0">
                <a:latin typeface="+mn-lt"/>
              </a:rPr>
              <a:t>Ensures idempotency</a:t>
            </a:r>
          </a:p>
          <a:p>
            <a:pPr>
              <a:lnSpc>
                <a:spcPct val="100000"/>
              </a:lnSpc>
              <a:buFontTx/>
              <a:buChar char="-"/>
            </a:pPr>
            <a:r>
              <a:rPr lang="en-US" sz="2400" dirty="0">
                <a:latin typeface="+mn-lt"/>
              </a:rPr>
              <a:t>Simplifies orchestration</a:t>
            </a:r>
          </a:p>
          <a:p>
            <a:pPr>
              <a:lnSpc>
                <a:spcPct val="100000"/>
              </a:lnSpc>
              <a:buFontTx/>
              <a:buChar char="-"/>
            </a:pPr>
            <a:r>
              <a:rPr lang="en-US" sz="2400" dirty="0">
                <a:latin typeface="+mn-lt"/>
              </a:rPr>
              <a:t>Provides Cross-Resource Configuration and Update support</a:t>
            </a:r>
          </a:p>
        </p:txBody>
      </p:sp>
    </p:spTree>
    <p:extLst>
      <p:ext uri="{BB962C8B-B14F-4D97-AF65-F5344CB8AC3E}">
        <p14:creationId xmlns:p14="http://schemas.microsoft.com/office/powerpoint/2010/main" val="2166888173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accent1">
                <a:lumMod val="5000"/>
                <a:lumOff val="95000"/>
              </a:schemeClr>
            </a:gs>
            <a:gs pos="74000">
              <a:schemeClr val="accent1">
                <a:lumMod val="45000"/>
                <a:lumOff val="55000"/>
              </a:schemeClr>
            </a:gs>
            <a:gs pos="83000">
              <a:schemeClr val="accent1">
                <a:lumMod val="45000"/>
                <a:lumOff val="55000"/>
              </a:schemeClr>
            </a:gs>
            <a:gs pos="100000">
              <a:schemeClr val="accent1">
                <a:lumMod val="30000"/>
                <a:lumOff val="70000"/>
              </a:schemeClr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2">
            <a:extLst>
              <a:ext uri="{FF2B5EF4-FFF2-40B4-BE49-F238E27FC236}">
                <a16:creationId xmlns:a16="http://schemas.microsoft.com/office/drawing/2014/main" id="{39401DC4-CCCE-40F2-8324-9EF5CB65F81B}"/>
              </a:ext>
            </a:extLst>
          </p:cNvPr>
          <p:cNvSpPr txBox="1">
            <a:spLocks/>
          </p:cNvSpPr>
          <p:nvPr/>
        </p:nvSpPr>
        <p:spPr>
          <a:xfrm>
            <a:off x="274637" y="220662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>
            <a:lvl1pPr algn="l" defTabSz="9325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799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ctr"/>
            <a:r>
              <a:rPr lang="en-US" sz="3200" b="1" dirty="0" err="1">
                <a:latin typeface="Verdana" panose="020B0604030504040204" pitchFamily="34" charset="0"/>
                <a:ea typeface="Verdana" panose="020B0604030504040204" pitchFamily="34" charset="0"/>
                <a:cs typeface="Aharoni" panose="02010803020104030203" pitchFamily="2" charset="-79"/>
              </a:rPr>
              <a:t>dcos</a:t>
            </a:r>
            <a:r>
              <a:rPr lang="en-US" sz="3200" b="1" dirty="0">
                <a:latin typeface="Verdana" panose="020B0604030504040204" pitchFamily="34" charset="0"/>
                <a:ea typeface="Verdana" panose="020B0604030504040204" pitchFamily="34" charset="0"/>
                <a:cs typeface="Aharoni" panose="02010803020104030203" pitchFamily="2" charset="-79"/>
              </a:rPr>
              <a:t>-engine</a:t>
            </a:r>
          </a:p>
        </p:txBody>
      </p:sp>
      <p:sp>
        <p:nvSpPr>
          <p:cNvPr id="11" name="Text Placeholder 1">
            <a:extLst>
              <a:ext uri="{FF2B5EF4-FFF2-40B4-BE49-F238E27FC236}">
                <a16:creationId xmlns:a16="http://schemas.microsoft.com/office/drawing/2014/main" id="{739FA442-6287-43D4-A71E-B422CB3BDCE6}"/>
              </a:ext>
            </a:extLst>
          </p:cNvPr>
          <p:cNvSpPr txBox="1">
            <a:spLocks/>
          </p:cNvSpPr>
          <p:nvPr/>
        </p:nvSpPr>
        <p:spPr>
          <a:xfrm>
            <a:off x="274637" y="982662"/>
            <a:ext cx="11885514" cy="4572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32742" rtl="0" eaLnBrk="1" latinLnBrk="0" hangingPunct="1">
              <a:defRPr sz="1224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66371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742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99113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65484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31856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98226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64597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30969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buFontTx/>
              <a:buChar char="-"/>
            </a:pPr>
            <a:r>
              <a:rPr lang="en-US" sz="240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rPr>
              <a:t>is as open source project </a:t>
            </a:r>
            <a:r>
              <a:rPr lang="en-US" sz="2400" dirty="0">
                <a:hlinkClick r:id="rId3"/>
              </a:rPr>
              <a:t>https://github.com/Azure/dcos-engine/</a:t>
            </a:r>
            <a:endParaRPr lang="en-US" sz="2400" dirty="0"/>
          </a:p>
          <a:p>
            <a:pPr marL="342900" indent="-342900">
              <a:buFontTx/>
              <a:buChar char="-"/>
            </a:pPr>
            <a:endParaRPr lang="en-US" sz="2400" dirty="0"/>
          </a:p>
          <a:p>
            <a:pPr marL="342900" indent="-342900">
              <a:buFontTx/>
              <a:buChar char="-"/>
            </a:pPr>
            <a:r>
              <a:rPr lang="en-US" sz="240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rPr>
              <a:t>initiated by Microsoft team</a:t>
            </a:r>
          </a:p>
          <a:p>
            <a:pPr marL="342900" indent="-342900">
              <a:buFontTx/>
              <a:buChar char="-"/>
            </a:pPr>
            <a:endParaRPr lang="en-US" sz="2400" dirty="0"/>
          </a:p>
          <a:p>
            <a:pPr marL="342900" indent="-342900">
              <a:buFontTx/>
              <a:buChar char="-"/>
            </a:pPr>
            <a:r>
              <a:rPr lang="en-US" sz="240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rPr>
              <a:t>allows to create, deploy, and manage highly customizable DC/OS cluster templates</a:t>
            </a:r>
          </a:p>
          <a:p>
            <a:pPr marL="342900" indent="-342900">
              <a:buFontTx/>
              <a:buChar char="-"/>
            </a:pPr>
            <a:endParaRPr lang="en-US" sz="2400" dirty="0"/>
          </a:p>
          <a:p>
            <a:pPr marL="342900" indent="-342900">
              <a:buFontTx/>
              <a:buChar char="-"/>
            </a:pPr>
            <a:r>
              <a:rPr lang="en-US" sz="240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rPr>
              <a:t>leverages advanced network, storage, compute, and security infrastructure of Azure</a:t>
            </a:r>
          </a:p>
          <a:p>
            <a:pPr marL="342900" indent="-342900">
              <a:buFontTx/>
              <a:buChar char="-"/>
            </a:pPr>
            <a:endParaRPr lang="en-US" sz="2400" dirty="0">
              <a:gradFill>
                <a:gsLst>
                  <a:gs pos="1250">
                    <a:schemeClr val="tx1"/>
                  </a:gs>
                  <a:gs pos="100000">
                    <a:schemeClr val="tx1"/>
                  </a:gs>
                </a:gsLst>
                <a:lin ang="5400000" scaled="0"/>
              </a:gradFill>
            </a:endParaRPr>
          </a:p>
          <a:p>
            <a:pPr marL="342900" indent="-342900">
              <a:buFontTx/>
              <a:buChar char="-"/>
            </a:pPr>
            <a:r>
              <a:rPr lang="en-US" sz="240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rPr>
              <a:t>contributes to container democratization in Azure</a:t>
            </a:r>
          </a:p>
        </p:txBody>
      </p:sp>
    </p:spTree>
    <p:extLst>
      <p:ext uri="{BB962C8B-B14F-4D97-AF65-F5344CB8AC3E}">
        <p14:creationId xmlns:p14="http://schemas.microsoft.com/office/powerpoint/2010/main" val="2775837254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accent1">
                <a:lumMod val="5000"/>
                <a:lumOff val="95000"/>
              </a:schemeClr>
            </a:gs>
            <a:gs pos="74000">
              <a:schemeClr val="accent1">
                <a:lumMod val="45000"/>
                <a:lumOff val="55000"/>
              </a:schemeClr>
            </a:gs>
            <a:gs pos="83000">
              <a:schemeClr val="accent1">
                <a:lumMod val="45000"/>
                <a:lumOff val="55000"/>
              </a:schemeClr>
            </a:gs>
            <a:gs pos="100000">
              <a:schemeClr val="accent1">
                <a:lumMod val="30000"/>
                <a:lumOff val="70000"/>
              </a:schemeClr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46037" y="1058862"/>
            <a:ext cx="5191123" cy="5867400"/>
          </a:xfrm>
          <a:prstGeom prst="rect">
            <a:avLst/>
          </a:prstGeom>
          <a:solidFill>
            <a:srgbClr val="00BCF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itle 2"/>
          <p:cNvSpPr txBox="1">
            <a:spLocks/>
          </p:cNvSpPr>
          <p:nvPr/>
        </p:nvSpPr>
        <p:spPr>
          <a:xfrm>
            <a:off x="274637" y="220662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>
            <a:lvl1pPr algn="l" defTabSz="9325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799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ctr"/>
            <a:r>
              <a:rPr lang="en-US" sz="3200" b="1" dirty="0" err="1">
                <a:latin typeface="Verdana" panose="020B0604030504040204" pitchFamily="34" charset="0"/>
                <a:ea typeface="Verdana" panose="020B0604030504040204" pitchFamily="34" charset="0"/>
                <a:cs typeface="Aharoni" panose="02010803020104030203" pitchFamily="2" charset="-79"/>
              </a:rPr>
              <a:t>dcos</a:t>
            </a:r>
            <a:r>
              <a:rPr lang="en-US" sz="3200" b="1" dirty="0">
                <a:latin typeface="Verdana" panose="020B0604030504040204" pitchFamily="34" charset="0"/>
                <a:ea typeface="Verdana" panose="020B0604030504040204" pitchFamily="34" charset="0"/>
                <a:cs typeface="Aharoni" panose="02010803020104030203" pitchFamily="2" charset="-79"/>
              </a:rPr>
              <a:t>-engine template generation workflow</a:t>
            </a:r>
          </a:p>
        </p:txBody>
      </p:sp>
      <p:sp>
        <p:nvSpPr>
          <p:cNvPr id="2" name="Flowchart: Card 1"/>
          <p:cNvSpPr/>
          <p:nvPr/>
        </p:nvSpPr>
        <p:spPr>
          <a:xfrm>
            <a:off x="1693863" y="1443037"/>
            <a:ext cx="1219200" cy="685800"/>
          </a:xfrm>
          <a:prstGeom prst="flowChartPunchedCard">
            <a:avLst/>
          </a:prstGeom>
          <a:solidFill>
            <a:srgbClr val="7F7F7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luster API model</a:t>
            </a:r>
          </a:p>
        </p:txBody>
      </p:sp>
      <p:sp>
        <p:nvSpPr>
          <p:cNvPr id="8" name="Flowchart: Card 7"/>
          <p:cNvSpPr/>
          <p:nvPr/>
        </p:nvSpPr>
        <p:spPr>
          <a:xfrm>
            <a:off x="1112837" y="3625577"/>
            <a:ext cx="1219200" cy="685800"/>
          </a:xfrm>
          <a:prstGeom prst="flowChartPunchedCard">
            <a:avLst/>
          </a:prstGeom>
          <a:solidFill>
            <a:srgbClr val="7F7F7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RM Template</a:t>
            </a:r>
          </a:p>
        </p:txBody>
      </p:sp>
      <p:sp>
        <p:nvSpPr>
          <p:cNvPr id="9" name="Flowchart: Card 8"/>
          <p:cNvSpPr/>
          <p:nvPr/>
        </p:nvSpPr>
        <p:spPr>
          <a:xfrm>
            <a:off x="2408237" y="3625577"/>
            <a:ext cx="1219200" cy="685800"/>
          </a:xfrm>
          <a:prstGeom prst="flowChartPunchedCard">
            <a:avLst/>
          </a:prstGeom>
          <a:solidFill>
            <a:srgbClr val="7F7F7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Parameters</a:t>
            </a:r>
          </a:p>
        </p:txBody>
      </p:sp>
      <p:sp>
        <p:nvSpPr>
          <p:cNvPr id="11" name="Cloud 10"/>
          <p:cNvSpPr/>
          <p:nvPr/>
        </p:nvSpPr>
        <p:spPr>
          <a:xfrm>
            <a:off x="1261344" y="5859462"/>
            <a:ext cx="2084237" cy="762000"/>
          </a:xfrm>
          <a:prstGeom prst="cloud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zure</a:t>
            </a:r>
          </a:p>
        </p:txBody>
      </p:sp>
      <p:sp>
        <p:nvSpPr>
          <p:cNvPr id="14" name="Flowchart: Alternate Process 13"/>
          <p:cNvSpPr/>
          <p:nvPr/>
        </p:nvSpPr>
        <p:spPr>
          <a:xfrm>
            <a:off x="1493837" y="2506662"/>
            <a:ext cx="1676400" cy="762000"/>
          </a:xfrm>
          <a:prstGeom prst="flowChartAlternateProces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dcos</a:t>
            </a:r>
            <a:r>
              <a:rPr lang="en-US" dirty="0"/>
              <a:t>-engine</a:t>
            </a:r>
          </a:p>
        </p:txBody>
      </p:sp>
      <p:sp>
        <p:nvSpPr>
          <p:cNvPr id="15" name="Flowchart: Alternate Process 14"/>
          <p:cNvSpPr/>
          <p:nvPr/>
        </p:nvSpPr>
        <p:spPr>
          <a:xfrm>
            <a:off x="1617662" y="4739761"/>
            <a:ext cx="1371600" cy="762000"/>
          </a:xfrm>
          <a:prstGeom prst="flowChartAlternateProces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RM</a:t>
            </a:r>
          </a:p>
        </p:txBody>
      </p:sp>
      <p:cxnSp>
        <p:nvCxnSpPr>
          <p:cNvPr id="19" name="Straight Arrow Connector 18"/>
          <p:cNvCxnSpPr>
            <a:cxnSpLocks/>
            <a:stCxn id="14" idx="2"/>
            <a:endCxn id="8" idx="0"/>
          </p:cNvCxnSpPr>
          <p:nvPr/>
        </p:nvCxnSpPr>
        <p:spPr>
          <a:xfrm flipH="1">
            <a:off x="1722437" y="3268662"/>
            <a:ext cx="609600" cy="356915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cxnSpLocks/>
            <a:stCxn id="14" idx="2"/>
            <a:endCxn id="9" idx="0"/>
          </p:cNvCxnSpPr>
          <p:nvPr/>
        </p:nvCxnSpPr>
        <p:spPr>
          <a:xfrm>
            <a:off x="2332037" y="3268662"/>
            <a:ext cx="685800" cy="356915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Arrow Connector 22"/>
          <p:cNvCxnSpPr>
            <a:cxnSpLocks/>
            <a:endCxn id="14" idx="0"/>
          </p:cNvCxnSpPr>
          <p:nvPr/>
        </p:nvCxnSpPr>
        <p:spPr>
          <a:xfrm>
            <a:off x="2332037" y="2148961"/>
            <a:ext cx="0" cy="357701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Arrow Connector 25"/>
          <p:cNvCxnSpPr>
            <a:stCxn id="8" idx="2"/>
            <a:endCxn id="15" idx="0"/>
          </p:cNvCxnSpPr>
          <p:nvPr/>
        </p:nvCxnSpPr>
        <p:spPr>
          <a:xfrm>
            <a:off x="1722437" y="4311377"/>
            <a:ext cx="581025" cy="428384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9" idx="2"/>
            <a:endCxn id="15" idx="0"/>
          </p:cNvCxnSpPr>
          <p:nvPr/>
        </p:nvCxnSpPr>
        <p:spPr>
          <a:xfrm flipH="1">
            <a:off x="2303462" y="4311377"/>
            <a:ext cx="714375" cy="428384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Arrow Connector 38"/>
          <p:cNvCxnSpPr>
            <a:stCxn id="15" idx="2"/>
            <a:endCxn id="11" idx="3"/>
          </p:cNvCxnSpPr>
          <p:nvPr/>
        </p:nvCxnSpPr>
        <p:spPr>
          <a:xfrm>
            <a:off x="2303462" y="5501761"/>
            <a:ext cx="1" cy="401269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12">
            <a:extLst>
              <a:ext uri="{FF2B5EF4-FFF2-40B4-BE49-F238E27FC236}">
                <a16:creationId xmlns:a16="http://schemas.microsoft.com/office/drawing/2014/main" id="{E70B3D67-8C37-4FDC-BA62-45740865907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03837" y="1058863"/>
            <a:ext cx="3368074" cy="5867399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3FB202BE-E7BD-4120-82DF-55786830159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694287" y="1058862"/>
            <a:ext cx="3696149" cy="1900238"/>
          </a:xfrm>
          <a:prstGeom prst="rect">
            <a:avLst/>
          </a:prstGeom>
        </p:spPr>
      </p:pic>
      <p:sp>
        <p:nvSpPr>
          <p:cNvPr id="6" name="Flowchart: Process 5">
            <a:extLst>
              <a:ext uri="{FF2B5EF4-FFF2-40B4-BE49-F238E27FC236}">
                <a16:creationId xmlns:a16="http://schemas.microsoft.com/office/drawing/2014/main" id="{93E59F90-0185-4C97-BC9C-E1ED4398B522}"/>
              </a:ext>
            </a:extLst>
          </p:cNvPr>
          <p:cNvSpPr/>
          <p:nvPr/>
        </p:nvSpPr>
        <p:spPr>
          <a:xfrm>
            <a:off x="8671911" y="4651911"/>
            <a:ext cx="1552576" cy="937699"/>
          </a:xfrm>
          <a:prstGeom prst="flowChartProces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PI model</a:t>
            </a:r>
          </a:p>
          <a:p>
            <a:pPr algn="ctr"/>
            <a:r>
              <a:rPr lang="en-US" dirty="0"/>
              <a:t>(46 lines)</a:t>
            </a:r>
          </a:p>
        </p:txBody>
      </p:sp>
      <p:sp>
        <p:nvSpPr>
          <p:cNvPr id="24" name="Flowchart: Process 23">
            <a:extLst>
              <a:ext uri="{FF2B5EF4-FFF2-40B4-BE49-F238E27FC236}">
                <a16:creationId xmlns:a16="http://schemas.microsoft.com/office/drawing/2014/main" id="{5CDB00A8-9819-490D-BD4F-C42E2737E2ED}"/>
              </a:ext>
            </a:extLst>
          </p:cNvPr>
          <p:cNvSpPr/>
          <p:nvPr/>
        </p:nvSpPr>
        <p:spPr>
          <a:xfrm>
            <a:off x="9999661" y="2940563"/>
            <a:ext cx="1552576" cy="937699"/>
          </a:xfrm>
          <a:prstGeom prst="flowChartProces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RM template</a:t>
            </a:r>
          </a:p>
          <a:p>
            <a:pPr algn="ctr"/>
            <a:r>
              <a:rPr lang="en-US" dirty="0"/>
              <a:t>(2542 lines)</a:t>
            </a:r>
          </a:p>
        </p:txBody>
      </p:sp>
      <p:cxnSp>
        <p:nvCxnSpPr>
          <p:cNvPr id="30" name="Straight Arrow Connector 29">
            <a:extLst>
              <a:ext uri="{FF2B5EF4-FFF2-40B4-BE49-F238E27FC236}">
                <a16:creationId xmlns:a16="http://schemas.microsoft.com/office/drawing/2014/main" id="{63942457-7E73-4711-BC06-21D451B7F5D8}"/>
              </a:ext>
            </a:extLst>
          </p:cNvPr>
          <p:cNvCxnSpPr>
            <a:cxnSpLocks/>
            <a:endCxn id="32" idx="0"/>
          </p:cNvCxnSpPr>
          <p:nvPr/>
        </p:nvCxnSpPr>
        <p:spPr>
          <a:xfrm>
            <a:off x="2332037" y="3268662"/>
            <a:ext cx="1981947" cy="356915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Flowchart: Card 31">
            <a:extLst>
              <a:ext uri="{FF2B5EF4-FFF2-40B4-BE49-F238E27FC236}">
                <a16:creationId xmlns:a16="http://schemas.microsoft.com/office/drawing/2014/main" id="{09506097-F73F-4342-844B-50FCBCC82D37}"/>
              </a:ext>
            </a:extLst>
          </p:cNvPr>
          <p:cNvSpPr/>
          <p:nvPr/>
        </p:nvSpPr>
        <p:spPr>
          <a:xfrm>
            <a:off x="3704384" y="3625577"/>
            <a:ext cx="1219200" cy="685800"/>
          </a:xfrm>
          <a:prstGeom prst="flowChartPunchedCard">
            <a:avLst/>
          </a:prstGeom>
          <a:solidFill>
            <a:srgbClr val="7F7F7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API model</a:t>
            </a:r>
          </a:p>
        </p:txBody>
      </p:sp>
    </p:spTree>
    <p:extLst>
      <p:ext uri="{BB962C8B-B14F-4D97-AF65-F5344CB8AC3E}">
        <p14:creationId xmlns:p14="http://schemas.microsoft.com/office/powerpoint/2010/main" val="388300984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accent1">
                <a:lumMod val="5000"/>
                <a:lumOff val="95000"/>
              </a:schemeClr>
            </a:gs>
            <a:gs pos="74000">
              <a:schemeClr val="accent1">
                <a:lumMod val="45000"/>
                <a:lumOff val="55000"/>
              </a:schemeClr>
            </a:gs>
            <a:gs pos="83000">
              <a:schemeClr val="accent1">
                <a:lumMod val="45000"/>
                <a:lumOff val="55000"/>
              </a:schemeClr>
            </a:gs>
            <a:gs pos="100000">
              <a:schemeClr val="accent1">
                <a:lumMod val="30000"/>
                <a:lumOff val="70000"/>
              </a:schemeClr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2">
            <a:extLst>
              <a:ext uri="{FF2B5EF4-FFF2-40B4-BE49-F238E27FC236}">
                <a16:creationId xmlns:a16="http://schemas.microsoft.com/office/drawing/2014/main" id="{39401DC4-CCCE-40F2-8324-9EF5CB65F81B}"/>
              </a:ext>
            </a:extLst>
          </p:cNvPr>
          <p:cNvSpPr txBox="1">
            <a:spLocks/>
          </p:cNvSpPr>
          <p:nvPr/>
        </p:nvSpPr>
        <p:spPr>
          <a:xfrm>
            <a:off x="274637" y="220662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>
            <a:lvl1pPr algn="l" defTabSz="9325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799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ctr"/>
            <a:r>
              <a:rPr lang="en-US" sz="3200" b="1" dirty="0" err="1">
                <a:latin typeface="Verdana" panose="020B0604030504040204" pitchFamily="34" charset="0"/>
                <a:ea typeface="Verdana" panose="020B0604030504040204" pitchFamily="34" charset="0"/>
                <a:cs typeface="Aharoni" panose="02010803020104030203" pitchFamily="2" charset="-79"/>
              </a:rPr>
              <a:t>dcos</a:t>
            </a:r>
            <a:r>
              <a:rPr lang="en-US" sz="3200" b="1" dirty="0">
                <a:latin typeface="Verdana" panose="020B0604030504040204" pitchFamily="34" charset="0"/>
                <a:ea typeface="Verdana" panose="020B0604030504040204" pitchFamily="34" charset="0"/>
                <a:cs typeface="Aharoni" panose="02010803020104030203" pitchFamily="2" charset="-79"/>
              </a:rPr>
              <a:t>-engine features</a:t>
            </a:r>
          </a:p>
        </p:txBody>
      </p:sp>
      <p:sp>
        <p:nvSpPr>
          <p:cNvPr id="11" name="Text Placeholder 1">
            <a:extLst>
              <a:ext uri="{FF2B5EF4-FFF2-40B4-BE49-F238E27FC236}">
                <a16:creationId xmlns:a16="http://schemas.microsoft.com/office/drawing/2014/main" id="{739FA442-6287-43D4-A71E-B422CB3BDCE6}"/>
              </a:ext>
            </a:extLst>
          </p:cNvPr>
          <p:cNvSpPr txBox="1">
            <a:spLocks/>
          </p:cNvSpPr>
          <p:nvPr/>
        </p:nvSpPr>
        <p:spPr>
          <a:xfrm>
            <a:off x="611963" y="754062"/>
            <a:ext cx="5181600" cy="4572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32742" rtl="0" eaLnBrk="1" latinLnBrk="0" hangingPunct="1">
              <a:defRPr sz="1224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66371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742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99113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65484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31856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98226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64597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30969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40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rPr>
              <a:t>Node pre- and post- provision</a:t>
            </a:r>
          </a:p>
          <a:p>
            <a:pPr marL="923498" lvl="1" indent="-457200">
              <a:buFont typeface="Courier New" panose="02070309020205020404" pitchFamily="49" charset="0"/>
              <a:buChar char="o"/>
            </a:pPr>
            <a:r>
              <a:rPr lang="en-US" sz="240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rPr>
              <a:t>master and agents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40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rPr>
              <a:t>Authentication</a:t>
            </a:r>
          </a:p>
          <a:p>
            <a:pPr marL="923498" lvl="1" indent="-457200">
              <a:buFont typeface="Courier New" panose="02070309020205020404" pitchFamily="49" charset="0"/>
              <a:buChar char="o"/>
            </a:pPr>
            <a:r>
              <a:rPr lang="en-US" sz="2400" dirty="0" err="1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rPr>
              <a:t>Oauth</a:t>
            </a:r>
            <a:endParaRPr lang="en-US" sz="2400" dirty="0">
              <a:gradFill>
                <a:gsLst>
                  <a:gs pos="1250">
                    <a:schemeClr val="tx1"/>
                  </a:gs>
                  <a:gs pos="100000">
                    <a:schemeClr val="tx1"/>
                  </a:gs>
                </a:gsLst>
                <a:lin ang="5400000" scaled="0"/>
              </a:gradFill>
            </a:endParaRPr>
          </a:p>
          <a:p>
            <a:pPr marL="923498" lvl="1" indent="-457200">
              <a:buFont typeface="Courier New" panose="02070309020205020404" pitchFamily="49" charset="0"/>
              <a:buChar char="o"/>
            </a:pPr>
            <a:r>
              <a:rPr lang="en-US"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rPr>
              <a:t>Master-agent</a:t>
            </a:r>
            <a:endParaRPr lang="en-US" sz="2400" dirty="0">
              <a:gradFill>
                <a:gsLst>
                  <a:gs pos="1250">
                    <a:schemeClr val="tx1"/>
                  </a:gs>
                  <a:gs pos="100000">
                    <a:schemeClr val="tx1"/>
                  </a:gs>
                </a:gsLst>
                <a:lin ang="5400000" scaled="0"/>
              </a:gradFill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40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rPr>
              <a:t>Configurable cluster</a:t>
            </a:r>
          </a:p>
          <a:p>
            <a:pPr marL="809198" lvl="1" indent="-342900">
              <a:buFont typeface="Courier New" panose="02070309020205020404" pitchFamily="49" charset="0"/>
              <a:buChar char="o"/>
            </a:pPr>
            <a:r>
              <a:rPr lang="en-US" sz="240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rPr>
              <a:t>number of master nodes</a:t>
            </a:r>
          </a:p>
          <a:p>
            <a:pPr marL="809198" lvl="1" indent="-342900">
              <a:buFont typeface="Courier New" panose="02070309020205020404" pitchFamily="49" charset="0"/>
              <a:buChar char="o"/>
            </a:pPr>
            <a:r>
              <a:rPr lang="en-US" sz="240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rPr>
              <a:t>DC/OS version or release</a:t>
            </a:r>
          </a:p>
          <a:p>
            <a:pPr marL="342900" indent="-342900">
              <a:buFontTx/>
              <a:buChar char="-"/>
            </a:pPr>
            <a:endParaRPr lang="en-US" sz="2400" dirty="0">
              <a:gradFill>
                <a:gsLst>
                  <a:gs pos="1250">
                    <a:schemeClr val="tx1"/>
                  </a:gs>
                  <a:gs pos="100000">
                    <a:schemeClr val="tx1"/>
                  </a:gs>
                </a:gsLst>
                <a:lin ang="5400000" scaled="0"/>
              </a:gradFill>
            </a:endParaRPr>
          </a:p>
        </p:txBody>
      </p:sp>
      <p:sp>
        <p:nvSpPr>
          <p:cNvPr id="4" name="Text Placeholder 1">
            <a:extLst>
              <a:ext uri="{FF2B5EF4-FFF2-40B4-BE49-F238E27FC236}">
                <a16:creationId xmlns:a16="http://schemas.microsoft.com/office/drawing/2014/main" id="{A6947AC3-B314-4067-B21A-9F101C0692FC}"/>
              </a:ext>
            </a:extLst>
          </p:cNvPr>
          <p:cNvSpPr txBox="1">
            <a:spLocks/>
          </p:cNvSpPr>
          <p:nvPr/>
        </p:nvSpPr>
        <p:spPr>
          <a:xfrm>
            <a:off x="6065837" y="1058861"/>
            <a:ext cx="6370638" cy="571500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32742" rtl="0" eaLnBrk="1" latinLnBrk="0" hangingPunct="1">
              <a:defRPr sz="1224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66371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742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99113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65484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31856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98226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64597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30969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40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rPr>
              <a:t>Multiple Agent Pools</a:t>
            </a:r>
          </a:p>
          <a:p>
            <a:pPr marL="809198" lvl="1" indent="-342900">
              <a:buFont typeface="Courier New" panose="02070309020205020404" pitchFamily="49" charset="0"/>
              <a:buChar char="o"/>
            </a:pPr>
            <a:r>
              <a:rPr lang="en-US" sz="240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rPr>
              <a:t>Multiple Network configurations</a:t>
            </a:r>
          </a:p>
          <a:p>
            <a:pPr marL="1275497" lvl="2" indent="-342900">
              <a:buFontTx/>
              <a:buChar char="-"/>
            </a:pPr>
            <a:r>
              <a:rPr lang="en-US" sz="240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rPr>
              <a:t>private pools</a:t>
            </a:r>
          </a:p>
          <a:p>
            <a:pPr marL="1275497" lvl="2" indent="-342900">
              <a:buFontTx/>
              <a:buChar char="-"/>
            </a:pPr>
            <a:r>
              <a:rPr lang="en-US" sz="240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rPr>
              <a:t>public pools with configurable ports</a:t>
            </a:r>
          </a:p>
          <a:p>
            <a:pPr marL="1275497" lvl="2" indent="-342900">
              <a:buFontTx/>
              <a:buChar char="-"/>
            </a:pPr>
            <a:r>
              <a:rPr lang="en-US" sz="240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rPr>
              <a:t>custom VNET</a:t>
            </a:r>
          </a:p>
          <a:p>
            <a:pPr marL="809198" lvl="1" indent="-342900">
              <a:buFont typeface="Courier New" panose="02070309020205020404" pitchFamily="49" charset="0"/>
              <a:buChar char="o"/>
            </a:pPr>
            <a:r>
              <a:rPr lang="en-US" sz="240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rPr>
              <a:t>Configurable count of VMs in the pool</a:t>
            </a:r>
          </a:p>
          <a:p>
            <a:pPr marL="809198" lvl="1" indent="-342900">
              <a:buFont typeface="Courier New" panose="02070309020205020404" pitchFamily="49" charset="0"/>
              <a:buChar char="o"/>
            </a:pPr>
            <a:r>
              <a:rPr lang="en-US" sz="240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rPr>
              <a:t>OS: Linux or Windows</a:t>
            </a:r>
          </a:p>
          <a:p>
            <a:pPr marL="809198" lvl="1" indent="-342900">
              <a:buFont typeface="Courier New" panose="02070309020205020404" pitchFamily="49" charset="0"/>
              <a:buChar char="o"/>
            </a:pPr>
            <a:r>
              <a:rPr lang="en-US" sz="240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rPr>
              <a:t>VM features: GPU, SSD, Large memory</a:t>
            </a:r>
          </a:p>
          <a:p>
            <a:pPr marL="809198" lvl="1" indent="-342900">
              <a:buFont typeface="Courier New" panose="02070309020205020404" pitchFamily="49" charset="0"/>
              <a:buChar char="o"/>
            </a:pPr>
            <a:r>
              <a:rPr lang="en-US" sz="240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rPr>
              <a:t>Disks</a:t>
            </a:r>
          </a:p>
          <a:p>
            <a:pPr lvl="1"/>
            <a:r>
              <a:rPr lang="en-US" sz="240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rPr>
              <a:t>	- configurable OS disk size</a:t>
            </a:r>
          </a:p>
          <a:p>
            <a:pPr lvl="2"/>
            <a:r>
              <a:rPr lang="en-US" sz="240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rPr>
              <a:t>- configurable count of attached disks</a:t>
            </a:r>
          </a:p>
          <a:p>
            <a:pPr lvl="2"/>
            <a:r>
              <a:rPr lang="en-US" sz="240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rPr>
              <a:t>- configurable size of attached disks</a:t>
            </a:r>
          </a:p>
          <a:p>
            <a:pPr marL="342900" indent="-342900">
              <a:buFontTx/>
              <a:buChar char="-"/>
            </a:pPr>
            <a:endParaRPr lang="en-US" sz="2400" dirty="0">
              <a:gradFill>
                <a:gsLst>
                  <a:gs pos="1250">
                    <a:schemeClr val="tx1"/>
                  </a:gs>
                  <a:gs pos="100000">
                    <a:schemeClr val="tx1"/>
                  </a:gs>
                </a:gsLst>
                <a:lin ang="5400000" scaled="0"/>
              </a:gradFill>
            </a:endParaRPr>
          </a:p>
        </p:txBody>
      </p:sp>
    </p:spTree>
    <p:extLst>
      <p:ext uri="{BB962C8B-B14F-4D97-AF65-F5344CB8AC3E}">
        <p14:creationId xmlns:p14="http://schemas.microsoft.com/office/powerpoint/2010/main" val="2690520727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5-50002_Ignite_Breakout_Template">
  <a:themeElements>
    <a:clrScheme name="Ignite 2016">
      <a:dk1>
        <a:srgbClr val="505050"/>
      </a:dk1>
      <a:lt1>
        <a:srgbClr val="FFFFFF"/>
      </a:lt1>
      <a:dk2>
        <a:srgbClr val="D83B01"/>
      </a:dk2>
      <a:lt2>
        <a:srgbClr val="F8F8F8"/>
      </a:lt2>
      <a:accent1>
        <a:srgbClr val="D83B01"/>
      </a:accent1>
      <a:accent2>
        <a:srgbClr val="0078D7"/>
      </a:accent2>
      <a:accent3>
        <a:srgbClr val="505050"/>
      </a:accent3>
      <a:accent4>
        <a:srgbClr val="D2D2D2"/>
      </a:accent4>
      <a:accent5>
        <a:srgbClr val="FFB900"/>
      </a:accent5>
      <a:accent6>
        <a:srgbClr val="FF8C00"/>
      </a:accent6>
      <a:hlink>
        <a:srgbClr val="0078D7"/>
      </a:hlink>
      <a:folHlink>
        <a:srgbClr val="0078D7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ln>
          <a:noFill/>
          <a:headEnd type="none" w="med" len="med"/>
          <a:tailEnd type="none" w="med" len="med"/>
        </a:ln>
      </a:spPr>
      <a:bodyPr vert="horz" wrap="square" lIns="0" tIns="46637" rIns="0" bIns="46637" numCol="1" rtlCol="0" anchor="ctr" anchorCtr="0" compatLnSpc="1">
        <a:prstTxWarp prst="textNoShape">
          <a:avLst/>
        </a:prstTxWarp>
      </a:bodyPr>
      <a:lstStyle>
        <a:defPPr algn="ctr" defTabSz="932472" fontAlgn="base">
          <a:spcBef>
            <a:spcPct val="0"/>
          </a:spcBef>
          <a:spcAft>
            <a:spcPct val="0"/>
          </a:spcAft>
          <a:defRPr sz="2000" dirty="0">
            <a:gradFill>
              <a:gsLst>
                <a:gs pos="5439">
                  <a:srgbClr val="F8F8F8"/>
                </a:gs>
                <a:gs pos="10000">
                  <a:srgbClr val="F8F8F8"/>
                </a:gs>
              </a:gsLst>
              <a:lin ang="5400000" scaled="0"/>
            </a:gra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icrosoft_2016_16x9_Template.potx" id="{CBE293B4-E8CE-4773-8118-C9AFF2860326}" vid="{2919AEDD-0101-441B-B6AF-1CDAE3B8CD78}"/>
    </a:ext>
  </a:extLst>
</a:theme>
</file>

<file path=ppt/theme/theme10.xml><?xml version="1.0" encoding="utf-8"?>
<a:theme xmlns:a="http://schemas.openxmlformats.org/drawingml/2006/main" name="1_6-30537_Envision 2016 Concurrent Template_Dark">
  <a:themeElements>
    <a:clrScheme name="Ignite Dark">
      <a:dk1>
        <a:srgbClr val="505050"/>
      </a:dk1>
      <a:lt1>
        <a:srgbClr val="FFFFFF"/>
      </a:lt1>
      <a:dk2>
        <a:srgbClr val="D83B01"/>
      </a:dk2>
      <a:lt2>
        <a:srgbClr val="F8F8F8"/>
      </a:lt2>
      <a:accent1>
        <a:srgbClr val="D83B01"/>
      </a:accent1>
      <a:accent2>
        <a:srgbClr val="0078D7"/>
      </a:accent2>
      <a:accent3>
        <a:srgbClr val="D2D2D2"/>
      </a:accent3>
      <a:accent4>
        <a:srgbClr val="FFB900"/>
      </a:accent4>
      <a:accent5>
        <a:srgbClr val="FF8C00"/>
      </a:accent5>
      <a:accent6>
        <a:srgbClr val="00BCF2"/>
      </a:accent6>
      <a:hlink>
        <a:srgbClr val="0078D7"/>
      </a:hlink>
      <a:folHlink>
        <a:srgbClr val="0078D7"/>
      </a:folHlink>
    </a:clrScheme>
    <a:fontScheme name="Custom 2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</a:spPr>
      <a:bodyPr vert="horz" wrap="square" lIns="0" tIns="46637" rIns="0" bIns="46637" numCol="1" rtlCol="0" anchor="ctr" anchorCtr="0" compatLnSpc="1">
        <a:prstTxWarp prst="textNoShape">
          <a:avLst/>
        </a:prstTxWarp>
      </a:bodyPr>
      <a:lstStyle>
        <a:defPPr algn="ctr" defTabSz="932472" fontAlgn="base">
          <a:spcBef>
            <a:spcPct val="0"/>
          </a:spcBef>
          <a:spcAft>
            <a:spcPct val="0"/>
          </a:spcAft>
          <a:defRPr sz="2000" dirty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icrosoft_2016_16x9_Template.potx" id="{CBE293B4-E8CE-4773-8118-C9AFF2860326}" vid="{3D8EA723-330F-4CE4-9E9B-7A3528C3E25F}"/>
    </a:ext>
  </a:extLst>
</a:theme>
</file>

<file path=ppt/theme/theme1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6-30537_Envision 2016 Concurrent Template_Dark">
  <a:themeElements>
    <a:clrScheme name="Ignite Dark">
      <a:dk1>
        <a:srgbClr val="505050"/>
      </a:dk1>
      <a:lt1>
        <a:srgbClr val="FFFFFF"/>
      </a:lt1>
      <a:dk2>
        <a:srgbClr val="D83B01"/>
      </a:dk2>
      <a:lt2>
        <a:srgbClr val="F8F8F8"/>
      </a:lt2>
      <a:accent1>
        <a:srgbClr val="D83B01"/>
      </a:accent1>
      <a:accent2>
        <a:srgbClr val="0078D7"/>
      </a:accent2>
      <a:accent3>
        <a:srgbClr val="D2D2D2"/>
      </a:accent3>
      <a:accent4>
        <a:srgbClr val="FFB900"/>
      </a:accent4>
      <a:accent5>
        <a:srgbClr val="FF8C00"/>
      </a:accent5>
      <a:accent6>
        <a:srgbClr val="00BCF2"/>
      </a:accent6>
      <a:hlink>
        <a:srgbClr val="0078D7"/>
      </a:hlink>
      <a:folHlink>
        <a:srgbClr val="0078D7"/>
      </a:folHlink>
    </a:clrScheme>
    <a:fontScheme name="Custom 2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</a:spPr>
      <a:bodyPr vert="horz" wrap="square" lIns="0" tIns="46637" rIns="0" bIns="46637" numCol="1" rtlCol="0" anchor="ctr" anchorCtr="0" compatLnSpc="1">
        <a:prstTxWarp prst="textNoShape">
          <a:avLst/>
        </a:prstTxWarp>
      </a:bodyPr>
      <a:lstStyle>
        <a:defPPr algn="ctr" defTabSz="932472" fontAlgn="base">
          <a:spcBef>
            <a:spcPct val="0"/>
          </a:spcBef>
          <a:spcAft>
            <a:spcPct val="0"/>
          </a:spcAft>
          <a:defRPr sz="2000" dirty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icrosoft_2016_16x9_Template.potx" id="{CBE293B4-E8CE-4773-8118-C9AFF2860326}" vid="{3D8EA723-330F-4CE4-9E9B-7A3528C3E25F}"/>
    </a:ext>
  </a:extLst>
</a:theme>
</file>

<file path=ppt/theme/theme3.xml><?xml version="1.0" encoding="utf-8"?>
<a:theme xmlns:a="http://schemas.openxmlformats.org/drawingml/2006/main" name="1_5-50002_Ignite_Breakout_Template">
  <a:themeElements>
    <a:clrScheme name="Ignite 2016">
      <a:dk1>
        <a:srgbClr val="505050"/>
      </a:dk1>
      <a:lt1>
        <a:srgbClr val="FFFFFF"/>
      </a:lt1>
      <a:dk2>
        <a:srgbClr val="D83B01"/>
      </a:dk2>
      <a:lt2>
        <a:srgbClr val="F8F8F8"/>
      </a:lt2>
      <a:accent1>
        <a:srgbClr val="D83B01"/>
      </a:accent1>
      <a:accent2>
        <a:srgbClr val="0078D7"/>
      </a:accent2>
      <a:accent3>
        <a:srgbClr val="505050"/>
      </a:accent3>
      <a:accent4>
        <a:srgbClr val="D2D2D2"/>
      </a:accent4>
      <a:accent5>
        <a:srgbClr val="FFB900"/>
      </a:accent5>
      <a:accent6>
        <a:srgbClr val="FF8C00"/>
      </a:accent6>
      <a:hlink>
        <a:srgbClr val="0078D7"/>
      </a:hlink>
      <a:folHlink>
        <a:srgbClr val="0078D7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ln>
          <a:noFill/>
          <a:headEnd type="none" w="med" len="med"/>
          <a:tailEnd type="none" w="med" len="med"/>
        </a:ln>
      </a:spPr>
      <a:bodyPr vert="horz" wrap="square" lIns="0" tIns="46637" rIns="0" bIns="46637" numCol="1" rtlCol="0" anchor="ctr" anchorCtr="0" compatLnSpc="1">
        <a:prstTxWarp prst="textNoShape">
          <a:avLst/>
        </a:prstTxWarp>
      </a:bodyPr>
      <a:lstStyle>
        <a:defPPr algn="ctr" defTabSz="932472" fontAlgn="base">
          <a:spcBef>
            <a:spcPct val="0"/>
          </a:spcBef>
          <a:spcAft>
            <a:spcPct val="0"/>
          </a:spcAft>
          <a:defRPr sz="2000" dirty="0">
            <a:gradFill>
              <a:gsLst>
                <a:gs pos="5439">
                  <a:srgbClr val="F8F8F8"/>
                </a:gs>
                <a:gs pos="10000">
                  <a:srgbClr val="F8F8F8"/>
                </a:gs>
              </a:gsLst>
              <a:lin ang="5400000" scaled="0"/>
            </a:gra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icrosoft_2016_16x9_Template.potx" id="{CBE293B4-E8CE-4773-8118-C9AFF2860326}" vid="{4A547913-FDF7-4DFF-9D24-2FF6685A0CA8}"/>
    </a:ext>
  </a:extLst>
</a:theme>
</file>

<file path=ppt/theme/theme4.xml><?xml version="1.0" encoding="utf-8"?>
<a:theme xmlns:a="http://schemas.openxmlformats.org/drawingml/2006/main" name="2_5-50002_Ignite_Breakout_Template">
  <a:themeElements>
    <a:clrScheme name="Ignite 2016">
      <a:dk1>
        <a:srgbClr val="505050"/>
      </a:dk1>
      <a:lt1>
        <a:srgbClr val="FFFFFF"/>
      </a:lt1>
      <a:dk2>
        <a:srgbClr val="D83B01"/>
      </a:dk2>
      <a:lt2>
        <a:srgbClr val="F8F8F8"/>
      </a:lt2>
      <a:accent1>
        <a:srgbClr val="D83B01"/>
      </a:accent1>
      <a:accent2>
        <a:srgbClr val="0078D7"/>
      </a:accent2>
      <a:accent3>
        <a:srgbClr val="505050"/>
      </a:accent3>
      <a:accent4>
        <a:srgbClr val="D2D2D2"/>
      </a:accent4>
      <a:accent5>
        <a:srgbClr val="FFB900"/>
      </a:accent5>
      <a:accent6>
        <a:srgbClr val="FF8C00"/>
      </a:accent6>
      <a:hlink>
        <a:srgbClr val="0078D7"/>
      </a:hlink>
      <a:folHlink>
        <a:srgbClr val="0078D7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ln>
          <a:noFill/>
          <a:headEnd type="none" w="med" len="med"/>
          <a:tailEnd type="none" w="med" len="med"/>
        </a:ln>
      </a:spPr>
      <a:bodyPr vert="horz" wrap="square" lIns="0" tIns="46637" rIns="0" bIns="46637" numCol="1" rtlCol="0" anchor="ctr" anchorCtr="0" compatLnSpc="1">
        <a:prstTxWarp prst="textNoShape">
          <a:avLst/>
        </a:prstTxWarp>
      </a:bodyPr>
      <a:lstStyle>
        <a:defPPr algn="ctr" defTabSz="932472" fontAlgn="base">
          <a:spcBef>
            <a:spcPct val="0"/>
          </a:spcBef>
          <a:spcAft>
            <a:spcPct val="0"/>
          </a:spcAft>
          <a:defRPr sz="2000" dirty="0">
            <a:gradFill>
              <a:gsLst>
                <a:gs pos="5439">
                  <a:srgbClr val="F8F8F8"/>
                </a:gs>
                <a:gs pos="10000">
                  <a:srgbClr val="F8F8F8"/>
                </a:gs>
              </a:gsLst>
              <a:lin ang="5400000" scaled="0"/>
            </a:gra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icrosoft_2016_16x9_Template.potx" id="{CBE293B4-E8CE-4773-8118-C9AFF2860326}" vid="{2919AEDD-0101-441B-B6AF-1CDAE3B8CD78}"/>
    </a:ext>
  </a:extLst>
</a:theme>
</file>

<file path=ppt/theme/theme5.xml><?xml version="1.0" encoding="utf-8"?>
<a:theme xmlns:a="http://schemas.openxmlformats.org/drawingml/2006/main" name="2_3-30810_Convergence_EMEA_Keynote_Template_Dark">
  <a:themeElements>
    <a:clrScheme name="Convergence EMEA Keynote">
      <a:dk1>
        <a:srgbClr val="505050"/>
      </a:dk1>
      <a:lt1>
        <a:srgbClr val="FFFFFF"/>
      </a:lt1>
      <a:dk2>
        <a:srgbClr val="0078D7"/>
      </a:dk2>
      <a:lt2>
        <a:srgbClr val="E6E6E6"/>
      </a:lt2>
      <a:accent1>
        <a:srgbClr val="0078D7"/>
      </a:accent1>
      <a:accent2>
        <a:srgbClr val="107C10"/>
      </a:accent2>
      <a:accent3>
        <a:srgbClr val="5C2D91"/>
      </a:accent3>
      <a:accent4>
        <a:srgbClr val="00BCF2"/>
      </a:accent4>
      <a:accent5>
        <a:srgbClr val="BAD80A"/>
      </a:accent5>
      <a:accent6>
        <a:srgbClr val="D83B01"/>
      </a:accent6>
      <a:hlink>
        <a:srgbClr val="0078D7"/>
      </a:hlink>
      <a:folHlink>
        <a:srgbClr val="0078D7"/>
      </a:folHlink>
    </a:clrScheme>
    <a:fontScheme name="Segoe UI L - Segoe UI SemiLight">
      <a:majorFont>
        <a:latin typeface="Segoe UI Light"/>
        <a:ea typeface=""/>
        <a:cs typeface=""/>
      </a:majorFont>
      <a:minorFont>
        <a:latin typeface="Segoe UI Semilight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</a:spPr>
      <a:bodyPr vert="horz" wrap="square" lIns="0" tIns="46637" rIns="0" bIns="46637" numCol="1" rtlCol="0" anchor="ctr" anchorCtr="0" compatLnSpc="1">
        <a:prstTxWarp prst="textNoShape">
          <a:avLst/>
        </a:prstTxWarp>
      </a:bodyPr>
      <a:lstStyle>
        <a:defPPr algn="ctr" defTabSz="932472" fontAlgn="base">
          <a:spcBef>
            <a:spcPct val="0"/>
          </a:spcBef>
          <a:spcAft>
            <a:spcPct val="0"/>
          </a:spcAft>
          <a:defRPr sz="2000" dirty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Convergence_EMEA_2015_Keynote_Template_112815.potx" id="{DA0FC16E-D2EC-49E0-A00D-C5B1477A9FF9}" vid="{AD0C3C5F-688D-42AF-83E6-C9ACAED83AE6}"/>
    </a:ext>
  </a:extLst>
</a:theme>
</file>

<file path=ppt/theme/theme6.xml><?xml version="1.0" encoding="utf-8"?>
<a:theme xmlns:a="http://schemas.openxmlformats.org/drawingml/2006/main" name="1_5-30660_TR21_BO_CT_Template">
  <a:themeElements>
    <a:clrScheme name="Custom 12">
      <a:dk1>
        <a:srgbClr val="505050"/>
      </a:dk1>
      <a:lt1>
        <a:srgbClr val="FFFFFF"/>
      </a:lt1>
      <a:dk2>
        <a:srgbClr val="0078D7"/>
      </a:dk2>
      <a:lt2>
        <a:srgbClr val="D2D2D2"/>
      </a:lt2>
      <a:accent1>
        <a:srgbClr val="D83B01"/>
      </a:accent1>
      <a:accent2>
        <a:srgbClr val="0078D7"/>
      </a:accent2>
      <a:accent3>
        <a:srgbClr val="BAD80A"/>
      </a:accent3>
      <a:accent4>
        <a:srgbClr val="FFB900"/>
      </a:accent4>
      <a:accent5>
        <a:srgbClr val="5C2D91"/>
      </a:accent5>
      <a:accent6>
        <a:srgbClr val="002050"/>
      </a:accent6>
      <a:hlink>
        <a:srgbClr val="4DB0FF"/>
      </a:hlink>
      <a:folHlink>
        <a:srgbClr val="7F7F7F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ln w="3175">
          <a:noFill/>
          <a:headEnd type="none" w="med" len="med"/>
          <a:tailEnd type="none" w="med" len="med"/>
        </a:ln>
      </a:spPr>
      <a:bodyPr vert="horz" wrap="square" lIns="0" tIns="46637" rIns="0" bIns="46637" numCol="1" rtlCol="0" anchor="ctr" anchorCtr="0" compatLnSpc="1">
        <a:prstTxWarp prst="textNoShape">
          <a:avLst/>
        </a:prstTxWarp>
      </a:bodyPr>
      <a:lstStyle>
        <a:defPPr algn="ctr" defTabSz="932472" fontAlgn="base">
          <a:spcBef>
            <a:spcPct val="0"/>
          </a:spcBef>
          <a:spcAft>
            <a:spcPct val="0"/>
          </a:spcAft>
          <a:defRPr sz="2000" dirty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TR21_BO_CT_Template.potx [Read-Only]" id="{75943521-E3C3-4031-9F22-7C26411915FC}" vid="{7540FE32-89F5-4624-B769-BFB809EDCFE3}"/>
    </a:ext>
  </a:extLst>
</a:theme>
</file>

<file path=ppt/theme/theme7.xml><?xml version="1.0" encoding="utf-8"?>
<a:theme xmlns:a="http://schemas.openxmlformats.org/drawingml/2006/main" name="TEE14 Speaker PPT Template">
  <a:themeElements>
    <a:clrScheme name="Custom 1">
      <a:dk1>
        <a:srgbClr val="505050"/>
      </a:dk1>
      <a:lt1>
        <a:srgbClr val="FFFFFF"/>
      </a:lt1>
      <a:dk2>
        <a:srgbClr val="442359"/>
      </a:dk2>
      <a:lt2>
        <a:srgbClr val="68217A"/>
      </a:lt2>
      <a:accent1>
        <a:srgbClr val="7FBA00"/>
      </a:accent1>
      <a:accent2>
        <a:srgbClr val="DC3C00"/>
      </a:accent2>
      <a:accent3>
        <a:srgbClr val="002050"/>
      </a:accent3>
      <a:accent4>
        <a:srgbClr val="009E49"/>
      </a:accent4>
      <a:accent5>
        <a:srgbClr val="00B294"/>
      </a:accent5>
      <a:accent6>
        <a:srgbClr val="0072C6"/>
      </a:accent6>
      <a:hlink>
        <a:srgbClr val="00BCF2"/>
      </a:hlink>
      <a:folHlink>
        <a:srgbClr val="00BCF2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TechEd EMEA 2014 IaaS" id="{C0CEA687-B31B-4231-9DEB-904DC7556346}" vid="{48E09565-7C12-45B6-AC51-51E513F7A6AA}"/>
    </a:ext>
  </a:extLst>
</a:theme>
</file>

<file path=ppt/theme/theme8.xml><?xml version="1.0" encoding="utf-8"?>
<a:theme xmlns:a="http://schemas.openxmlformats.org/drawingml/2006/main" name="5-30721_Build_2016_Template_Light">
  <a:themeElements>
    <a:clrScheme name="Build 2016">
      <a:dk1>
        <a:srgbClr val="505050"/>
      </a:dk1>
      <a:lt1>
        <a:srgbClr val="FFFFFF"/>
      </a:lt1>
      <a:dk2>
        <a:srgbClr val="0078D7"/>
      </a:dk2>
      <a:lt2>
        <a:srgbClr val="F8F8F8"/>
      </a:lt2>
      <a:accent1>
        <a:srgbClr val="0078D7"/>
      </a:accent1>
      <a:accent2>
        <a:srgbClr val="002050"/>
      </a:accent2>
      <a:accent3>
        <a:srgbClr val="00BCF2"/>
      </a:accent3>
      <a:accent4>
        <a:srgbClr val="D2D2D2"/>
      </a:accent4>
      <a:accent5>
        <a:srgbClr val="737373"/>
      </a:accent5>
      <a:accent6>
        <a:srgbClr val="505050"/>
      </a:accent6>
      <a:hlink>
        <a:srgbClr val="0078D7"/>
      </a:hlink>
      <a:folHlink>
        <a:srgbClr val="0078D7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icrosoft_Build_2016_16x9_Template.potx" id="{2D9F1654-7A66-4699-829C-201E10216A69}" vid="{2DD1E4E3-0871-45BE-BEDE-345B55444DCB}"/>
    </a:ext>
  </a:extLst>
</a:theme>
</file>

<file path=ppt/theme/theme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b9455cd9-8d1a-4809-811f-5262230cf84f">
      <UserInfo>
        <DisplayName>Dag König</DisplayName>
        <AccountId>542</AccountId>
        <AccountType/>
      </UserInfo>
      <UserInfo>
        <DisplayName>Dave Voyles</DisplayName>
        <AccountId>550</AccountId>
        <AccountType/>
      </UserInfo>
      <UserInfo>
        <DisplayName>Chandu Cheeti</DisplayName>
        <AccountId>551</AccountId>
        <AccountType/>
      </UserInfo>
      <UserInfo>
        <DisplayName>Iryna Bondarenko (InConsulting Inc.)</DisplayName>
        <AccountId>552</AccountId>
        <AccountType/>
      </UserInfo>
      <UserInfo>
        <DisplayName>Peter Williams (CDSA UK)</DisplayName>
        <AccountId>559</AccountId>
        <AccountType/>
      </UserInfo>
      <UserInfo>
        <DisplayName>Ray Kao</DisplayName>
        <AccountId>560</AccountId>
        <AccountType/>
      </UserInfo>
      <UserInfo>
        <DisplayName>Jose Gonzalez (Practia Consulting Limitada)</DisplayName>
        <AccountId>564</AccountId>
        <AccountType/>
      </UserInfo>
      <UserInfo>
        <DisplayName>Cosmin Cojocar</DisplayName>
        <AccountId>46</AccountId>
        <AccountType/>
      </UserInfo>
      <UserInfo>
        <DisplayName>Steve Kaiser</DisplayName>
        <AccountId>37</AccountId>
        <AccountType/>
      </UserInfo>
      <UserInfo>
        <DisplayName>Tim Reilly</DisplayName>
        <AccountId>602</AccountId>
        <AccountType/>
      </UserInfo>
      <UserInfo>
        <DisplayName>Saurya Das</DisplayName>
        <AccountId>78</AccountId>
        <AccountType/>
      </UserInfo>
      <UserInfo>
        <DisplayName>Anand Chandramohan</DisplayName>
        <AccountId>121</AccountId>
        <AccountType/>
      </UserInfo>
      <UserInfo>
        <DisplayName>Ross Gardler</DisplayName>
        <AccountId>12</AccountId>
        <AccountType/>
      </UserInfo>
    </SharedWithUsers>
    <LastSharedByUser xmlns="b9455cd9-8d1a-4809-811f-5262230cf84f">saudas@microsoft.com</LastSharedByUser>
    <LastSharedByTime xmlns="b9455cd9-8d1a-4809-811f-5262230cf84f">2017-05-17T03:38:30+00:00</LastSharedByTime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70DA3E00C54B0499CB20DAB6D5FCEDC" ma:contentTypeVersion="6" ma:contentTypeDescription="Create a new document." ma:contentTypeScope="" ma:versionID="0fe1a9c2e852ababc7a19b6d800daacf">
  <xsd:schema xmlns:xsd="http://www.w3.org/2001/XMLSchema" xmlns:xs="http://www.w3.org/2001/XMLSchema" xmlns:p="http://schemas.microsoft.com/office/2006/metadata/properties" xmlns:ns2="b9455cd9-8d1a-4809-811f-5262230cf84f" xmlns:ns3="9c8075f7-1a86-41d6-a0c9-e3ad17d5d095" targetNamespace="http://schemas.microsoft.com/office/2006/metadata/properties" ma:root="true" ma:fieldsID="4fcf5b516b6ad7854231ff74a8b2501c" ns2:_="" ns3:_="">
    <xsd:import namespace="b9455cd9-8d1a-4809-811f-5262230cf84f"/>
    <xsd:import namespace="9c8075f7-1a86-41d6-a0c9-e3ad17d5d095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2:LastSharedByUser" minOccurs="0"/>
                <xsd:element ref="ns2:LastSharedByTime" minOccurs="0"/>
                <xsd:element ref="ns3:MediaServiceMetadata" minOccurs="0"/>
                <xsd:element ref="ns3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9455cd9-8d1a-4809-811f-5262230cf84f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  <xsd:element name="LastSharedByUser" ma:index="10" nillable="true" ma:displayName="Last Shared By User" ma:description="" ma:internalName="LastSharedByUser" ma:readOnly="true">
      <xsd:simpleType>
        <xsd:restriction base="dms:Note">
          <xsd:maxLength value="255"/>
        </xsd:restriction>
      </xsd:simpleType>
    </xsd:element>
    <xsd:element name="LastSharedByTime" ma:index="11" nillable="true" ma:displayName="Last Shared By Time" ma:description="" ma:internalName="LastSharedByTime" ma:readOnly="true">
      <xsd:simpleType>
        <xsd:restriction base="dms:DateTim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c8075f7-1a86-41d6-a0c9-e3ad17d5d09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2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13" nillable="true" ma:displayName="MediaServiceFastMetadata" ma:description="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F990F116-B58F-4255-B05B-DA3808E0E5C6}">
  <ds:schemaRefs>
    <ds:schemaRef ds:uri="b9455cd9-8d1a-4809-811f-5262230cf84f"/>
    <ds:schemaRef ds:uri="http://schemas.microsoft.com/office/2006/documentManagement/types"/>
    <ds:schemaRef ds:uri="http://schemas.microsoft.com/office/2006/metadata/properties"/>
    <ds:schemaRef ds:uri="http://purl.org/dc/elements/1.1/"/>
    <ds:schemaRef ds:uri="http://purl.org/dc/terms/"/>
    <ds:schemaRef ds:uri="http://schemas.openxmlformats.org/package/2006/metadata/core-properties"/>
    <ds:schemaRef ds:uri="http://purl.org/dc/dcmitype/"/>
    <ds:schemaRef ds:uri="http://schemas.microsoft.com/office/infopath/2007/PartnerControls"/>
    <ds:schemaRef ds:uri="9c8075f7-1a86-41d6-a0c9-e3ad17d5d095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BEC805D0-EBE6-4A0E-90CF-48057CB0343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b9455cd9-8d1a-4809-811f-5262230cf84f"/>
    <ds:schemaRef ds:uri="9c8075f7-1a86-41d6-a0c9-e3ad17d5d09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758FDAC0-319D-4A54-8D8E-1D42CB1F8004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Microsoft_2016_16x9_Template</Template>
  <TotalTime>19054</TotalTime>
  <Words>2696</Words>
  <Application>Microsoft Office PowerPoint</Application>
  <PresentationFormat>Custom</PresentationFormat>
  <Paragraphs>452</Paragraphs>
  <Slides>47</Slides>
  <Notes>46</Notes>
  <HiddenSlides>0</HiddenSlides>
  <MMClips>0</MMClips>
  <ScaleCrop>false</ScaleCrop>
  <HeadingPairs>
    <vt:vector size="8" baseType="variant">
      <vt:variant>
        <vt:lpstr>Fonts Used</vt:lpstr>
      </vt:variant>
      <vt:variant>
        <vt:i4>12</vt:i4>
      </vt:variant>
      <vt:variant>
        <vt:lpstr>Theme</vt:lpstr>
      </vt:variant>
      <vt:variant>
        <vt:i4>10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7</vt:i4>
      </vt:variant>
    </vt:vector>
  </HeadingPairs>
  <TitlesOfParts>
    <vt:vector size="70" baseType="lpstr">
      <vt:lpstr>Arial</vt:lpstr>
      <vt:lpstr>Calibri</vt:lpstr>
      <vt:lpstr>Calibri Light</vt:lpstr>
      <vt:lpstr>Consolas</vt:lpstr>
      <vt:lpstr>Courier New</vt:lpstr>
      <vt:lpstr>Segoe Semibold</vt:lpstr>
      <vt:lpstr>Segoe UI</vt:lpstr>
      <vt:lpstr>Segoe UI Light</vt:lpstr>
      <vt:lpstr>Segoe UI Semilight</vt:lpstr>
      <vt:lpstr>Trebuchet MS</vt:lpstr>
      <vt:lpstr>Verdana</vt:lpstr>
      <vt:lpstr>Wingdings</vt:lpstr>
      <vt:lpstr>5-50002_Ignite_Breakout_Template</vt:lpstr>
      <vt:lpstr>6-30537_Envision 2016 Concurrent Template_Dark</vt:lpstr>
      <vt:lpstr>1_5-50002_Ignite_Breakout_Template</vt:lpstr>
      <vt:lpstr>2_5-50002_Ignite_Breakout_Template</vt:lpstr>
      <vt:lpstr>2_3-30810_Convergence_EMEA_Keynote_Template_Dark</vt:lpstr>
      <vt:lpstr>1_5-30660_TR21_BO_CT_Template</vt:lpstr>
      <vt:lpstr>TEE14 Speaker PPT Template</vt:lpstr>
      <vt:lpstr>5-30721_Build_2016_Template_Light</vt:lpstr>
      <vt:lpstr>Office Theme</vt:lpstr>
      <vt:lpstr>1_6-30537_Envision 2016 Concurrent Template_Dark</vt:lpstr>
      <vt:lpstr>think-cell Slide</vt:lpstr>
      <vt:lpstr>Deploying and managing DC/OS clusters in  Microsoft Azure.</vt:lpstr>
      <vt:lpstr>Agenda</vt:lpstr>
      <vt:lpstr>Provisioning resources in ARM</vt:lpstr>
      <vt:lpstr>Provisioning resources in ARM (cont.)</vt:lpstr>
      <vt:lpstr>Provisioning resources in ARM (cont.)</vt:lpstr>
      <vt:lpstr>Provisioning resources in ARM (cont.)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Manager/>
  <Company>Microsoft Corporatio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tion title  goes here</dc:title>
  <dc:subject>&lt;Speech title here&gt;</dc:subject>
  <dc:creator>Drew McDaniel</dc:creator>
  <cp:keywords>Microsoft 2016</cp:keywords>
  <dc:description>Template: Mitchell Derrey, Silverfox Productions_x000d_
Formatting: _x000d_
Audience Type:</dc:description>
  <cp:lastModifiedBy>Dmitry Shmulevich</cp:lastModifiedBy>
  <cp:revision>682</cp:revision>
  <dcterms:created xsi:type="dcterms:W3CDTF">2016-09-20T18:02:04Z</dcterms:created>
  <dcterms:modified xsi:type="dcterms:W3CDTF">2018-11-22T00:04:40Z</dcterms:modified>
  <cp:category>Microsoft 2016</cp:category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70DA3E00C54B0499CB20DAB6D5FCEDC</vt:lpwstr>
  </property>
  <property fmtid="{D5CDD505-2E9C-101B-9397-08002B2CF9AE}" pid="3" name="Product">
    <vt:lpwstr/>
  </property>
  <property fmtid="{D5CDD505-2E9C-101B-9397-08002B2CF9AE}" pid="4" name="Event1">
    <vt:lpwstr>622;#Unassigned|2c8af875-f38a-40b8-a0a9-056aed3fc8c0</vt:lpwstr>
  </property>
  <property fmtid="{D5CDD505-2E9C-101B-9397-08002B2CF9AE}" pid="5" name="Audience">
    <vt:lpwstr/>
  </property>
  <property fmtid="{D5CDD505-2E9C-101B-9397-08002B2CF9AE}" pid="6" name="Event Venue">
    <vt:lpwstr>177;#Georgia World Congress Center|ea0ece34-59a6-4d43-8d9e-d0f9e2a2f1ce</vt:lpwstr>
  </property>
  <property fmtid="{D5CDD505-2E9C-101B-9397-08002B2CF9AE}" pid="7" name="Track">
    <vt:lpwstr/>
  </property>
  <property fmtid="{D5CDD505-2E9C-101B-9397-08002B2CF9AE}" pid="8" name="Event Location">
    <vt:lpwstr>176;#Atlanta|01fb9831-5840-48a0-a576-3e48f42baa53</vt:lpwstr>
  </property>
  <property fmtid="{D5CDD505-2E9C-101B-9397-08002B2CF9AE}" pid="9" name="Campaign">
    <vt:lpwstr/>
  </property>
  <property fmtid="{D5CDD505-2E9C-101B-9397-08002B2CF9AE}" pid="10" name="IsMyDocuments">
    <vt:bool>true</vt:bool>
  </property>
  <property fmtid="{D5CDD505-2E9C-101B-9397-08002B2CF9AE}" pid="11" name="TaxKeyword">
    <vt:lpwstr>174;#Microsoft Ignite 2016|e2f6a88c-86f9-4b25-a2af-b5c3afa8c82a</vt:lpwstr>
  </property>
  <property fmtid="{D5CDD505-2E9C-101B-9397-08002B2CF9AE}" pid="12" name="Audience1">
    <vt:lpwstr/>
  </property>
  <property fmtid="{D5CDD505-2E9C-101B-9397-08002B2CF9AE}" pid="13" name="Event Name">
    <vt:lpwstr>175;#Microsoft Ignite|9323c522-fe4b-4922-816b-10a1920d7afb</vt:lpwstr>
  </property>
  <property fmtid="{D5CDD505-2E9C-101B-9397-08002B2CF9AE}" pid="14" name="MSIP_Label_f42aa342-8706-4288-bd11-ebb85995028c_Enabled">
    <vt:lpwstr>True</vt:lpwstr>
  </property>
  <property fmtid="{D5CDD505-2E9C-101B-9397-08002B2CF9AE}" pid="15" name="MSIP_Label_f42aa342-8706-4288-bd11-ebb85995028c_SiteId">
    <vt:lpwstr>72f988bf-86f1-41af-91ab-2d7cd011db47</vt:lpwstr>
  </property>
  <property fmtid="{D5CDD505-2E9C-101B-9397-08002B2CF9AE}" pid="16" name="MSIP_Label_f42aa342-8706-4288-bd11-ebb85995028c_Ref">
    <vt:lpwstr>https://api.informationprotection.azure.com/api/72f988bf-86f1-41af-91ab-2d7cd011db47</vt:lpwstr>
  </property>
  <property fmtid="{D5CDD505-2E9C-101B-9397-08002B2CF9AE}" pid="17" name="MSIP_Label_f42aa342-8706-4288-bd11-ebb85995028c_SetBy">
    <vt:lpwstr>rogardle@microsoft.com</vt:lpwstr>
  </property>
  <property fmtid="{D5CDD505-2E9C-101B-9397-08002B2CF9AE}" pid="18" name="MSIP_Label_f42aa342-8706-4288-bd11-ebb85995028c_SetDate">
    <vt:lpwstr>2017-05-02T14:55:12.3252986-07:00</vt:lpwstr>
  </property>
  <property fmtid="{D5CDD505-2E9C-101B-9397-08002B2CF9AE}" pid="19" name="MSIP_Label_f42aa342-8706-4288-bd11-ebb85995028c_Name">
    <vt:lpwstr>General</vt:lpwstr>
  </property>
  <property fmtid="{D5CDD505-2E9C-101B-9397-08002B2CF9AE}" pid="20" name="MSIP_Label_f42aa342-8706-4288-bd11-ebb85995028c_Application">
    <vt:lpwstr>Microsoft Azure Information Protection</vt:lpwstr>
  </property>
  <property fmtid="{D5CDD505-2E9C-101B-9397-08002B2CF9AE}" pid="21" name="MSIP_Label_f42aa342-8706-4288-bd11-ebb85995028c_Extended_MSFT_Method">
    <vt:lpwstr>Automatic</vt:lpwstr>
  </property>
  <property fmtid="{D5CDD505-2E9C-101B-9397-08002B2CF9AE}" pid="22" name="Sensitivity">
    <vt:lpwstr>General</vt:lpwstr>
  </property>
</Properties>
</file>